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webextensions/webextension2.xml" ContentType="application/vnd.ms-office.webextension+xml"/>
  <Override PartName="/ppt/webextensions/webextension3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3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4.xml" ContentType="application/vnd.openxmlformats-officedocument.presentationml.slideLayout+xml"/>
  <Override PartName="/ppt/theme/theme4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5.xml" ContentType="application/vnd.openxmlformats-officedocument.presentationml.slideLayout+xml"/>
  <Override PartName="/ppt/theme/theme5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6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7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1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notesSlides/notesSlide2.xml" ContentType="application/vnd.openxmlformats-officedocument.presentationml.notesSlide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ppt/tags/tag940.xml" ContentType="application/vnd.openxmlformats-officedocument.presentationml.tags+xml"/>
  <Override PartName="/ppt/tags/tag1030.xml" ContentType="application/vnd.openxmlformats-officedocument.presentationml.tags+xml"/>
  <Override PartName="/ppt/tags/tag1120.xml" ContentType="application/vnd.openxmlformats-officedocument.presentationml.tags+xml"/>
  <Override PartName="/ppt/tags/tag1210.xml" ContentType="application/vnd.openxmlformats-officedocument.presentationml.tags+xml"/>
  <Override PartName="/ppt/tags/tag1300.xml" ContentType="application/vnd.openxmlformats-officedocument.presentationml.tags+xml"/>
  <Override PartName="/ppt/tags/tag1320.xml" ContentType="application/vnd.openxmlformats-officedocument.presentationml.tags+xml"/>
  <Override PartName="/ppt/tags/tag1390.xml" ContentType="application/vnd.openxmlformats-officedocument.presentationml.tags+xml"/>
  <Override PartName="/ppt/tags/tag1420.xml" ContentType="application/vnd.openxmlformats-officedocument.presentationml.tags+xml"/>
  <Override PartName="/ppt/tags/tag1700.xml" ContentType="application/vnd.openxmlformats-officedocument.presentationml.tags+xml"/>
  <Override PartName="/ppt/tags/tag1910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embedTrueTypeFonts="1" saveSubsetFonts="1" autoCompressPictures="0">
  <p:sldMasterIdLst>
    <p:sldMasterId id="2147483649" r:id="rId1"/>
    <p:sldMasterId id="2147483650" r:id="rId2"/>
    <p:sldMasterId id="2147483651" r:id="rId3"/>
    <p:sldMasterId id="2147483652" r:id="rId4"/>
    <p:sldMasterId id="2147483654" r:id="rId5"/>
    <p:sldMasterId id="2147483671" r:id="rId6"/>
  </p:sldMasterIdLst>
  <p:notesMasterIdLst>
    <p:notesMasterId r:id="rId53"/>
  </p:notesMasterIdLst>
  <p:sldIdLst>
    <p:sldId id="296" r:id="rId7"/>
    <p:sldId id="297" r:id="rId8"/>
    <p:sldId id="321" r:id="rId9"/>
    <p:sldId id="298" r:id="rId10"/>
    <p:sldId id="299" r:id="rId11"/>
    <p:sldId id="334" r:id="rId12"/>
    <p:sldId id="301" r:id="rId13"/>
    <p:sldId id="324" r:id="rId14"/>
    <p:sldId id="320" r:id="rId15"/>
    <p:sldId id="325" r:id="rId16"/>
    <p:sldId id="327" r:id="rId17"/>
    <p:sldId id="307" r:id="rId18"/>
    <p:sldId id="339" r:id="rId19"/>
    <p:sldId id="342" r:id="rId20"/>
    <p:sldId id="343" r:id="rId21"/>
    <p:sldId id="309" r:id="rId22"/>
    <p:sldId id="328" r:id="rId23"/>
    <p:sldId id="310" r:id="rId24"/>
    <p:sldId id="317" r:id="rId25"/>
    <p:sldId id="329" r:id="rId26"/>
    <p:sldId id="348" r:id="rId27"/>
    <p:sldId id="344" r:id="rId28"/>
    <p:sldId id="345" r:id="rId29"/>
    <p:sldId id="364" r:id="rId30"/>
    <p:sldId id="346" r:id="rId31"/>
    <p:sldId id="365" r:id="rId32"/>
    <p:sldId id="347" r:id="rId33"/>
    <p:sldId id="349" r:id="rId34"/>
    <p:sldId id="369" r:id="rId35"/>
    <p:sldId id="366" r:id="rId36"/>
    <p:sldId id="370" r:id="rId37"/>
    <p:sldId id="330" r:id="rId38"/>
    <p:sldId id="350" r:id="rId39"/>
    <p:sldId id="352" r:id="rId40"/>
    <p:sldId id="351" r:id="rId41"/>
    <p:sldId id="359" r:id="rId42"/>
    <p:sldId id="353" r:id="rId43"/>
    <p:sldId id="354" r:id="rId44"/>
    <p:sldId id="356" r:id="rId45"/>
    <p:sldId id="357" r:id="rId46"/>
    <p:sldId id="358" r:id="rId47"/>
    <p:sldId id="355" r:id="rId48"/>
    <p:sldId id="331" r:id="rId49"/>
    <p:sldId id="361" r:id="rId50"/>
    <p:sldId id="363" r:id="rId51"/>
    <p:sldId id="333" r:id="rId52"/>
  </p:sldIdLst>
  <p:sldSz cx="9144000" cy="5143500" type="screen16x9"/>
  <p:notesSz cx="6858000" cy="9144000"/>
  <p:embeddedFontLst>
    <p:embeddedFont>
      <p:font typeface="Aptos Light" panose="020B0004020202020204" pitchFamily="34" charset="0"/>
      <p:regular r:id="rId54"/>
      <p:italic r:id="rId55"/>
    </p:embeddedFont>
    <p:embeddedFont>
      <p:font typeface="Aptos SemiBold" panose="020B0004020202020204" pitchFamily="34" charset="0"/>
      <p:bold r:id="rId56"/>
      <p:boldItalic r:id="rId57"/>
    </p:embeddedFont>
    <p:embeddedFont>
      <p:font typeface="Cambria Math" panose="02040503050406030204" pitchFamily="18" charset="0"/>
      <p:regular r:id="rId58"/>
    </p:embeddedFont>
  </p:embeddedFontLst>
  <p:custDataLst>
    <p:tags r:id="rId59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521415D9-36F7-43E2-AB2F-B90AF26B5E84}">
      <p14:sectionLst xmlns:p14="http://schemas.microsoft.com/office/powerpoint/2010/main">
        <p14:section name="Title and agenda" id="{D7908DF1-6A39-4AF6-99D5-F7F57507C4C3}">
          <p14:sldIdLst>
            <p14:sldId id="296"/>
            <p14:sldId id="297"/>
          </p14:sldIdLst>
        </p14:section>
        <p14:section name="Project overview" id="{10BC4962-C7B5-4116-903A-DA99F43658A8}">
          <p14:sldIdLst>
            <p14:sldId id="321"/>
            <p14:sldId id="298"/>
            <p14:sldId id="299"/>
            <p14:sldId id="334"/>
            <p14:sldId id="301"/>
          </p14:sldIdLst>
        </p14:section>
        <p14:section name="Dataset" id="{4C47147E-B84E-4422-A009-A36C6B277D18}">
          <p14:sldIdLst>
            <p14:sldId id="324"/>
            <p14:sldId id="320"/>
            <p14:sldId id="325"/>
          </p14:sldIdLst>
        </p14:section>
        <p14:section name="Supply chain modeling" id="{ACE01275-D6A8-4AFA-B4DE-AA9E63D92BFE}">
          <p14:sldIdLst>
            <p14:sldId id="327"/>
            <p14:sldId id="307"/>
            <p14:sldId id="339"/>
            <p14:sldId id="342"/>
            <p14:sldId id="343"/>
            <p14:sldId id="309"/>
          </p14:sldIdLst>
        </p14:section>
        <p14:section name="Historical indicators" id="{AFA59C74-C90A-4CA1-9B4D-87E46E3780FD}">
          <p14:sldIdLst>
            <p14:sldId id="328"/>
            <p14:sldId id="310"/>
            <p14:sldId id="317"/>
          </p14:sldIdLst>
        </p14:section>
        <p14:section name="Realtime indicators" id="{76E247DA-49D6-4E34-88E0-3B7C70ED9B56}">
          <p14:sldIdLst>
            <p14:sldId id="329"/>
            <p14:sldId id="348"/>
            <p14:sldId id="344"/>
            <p14:sldId id="345"/>
            <p14:sldId id="364"/>
            <p14:sldId id="346"/>
            <p14:sldId id="365"/>
            <p14:sldId id="347"/>
            <p14:sldId id="349"/>
            <p14:sldId id="369"/>
            <p14:sldId id="366"/>
            <p14:sldId id="370"/>
          </p14:sldIdLst>
        </p14:section>
        <p14:section name="Prototype and results" id="{23DDE0B9-FDFF-43DD-90E9-C1995CCD43ED}">
          <p14:sldIdLst>
            <p14:sldId id="330"/>
            <p14:sldId id="350"/>
            <p14:sldId id="352"/>
            <p14:sldId id="351"/>
            <p14:sldId id="359"/>
            <p14:sldId id="353"/>
            <p14:sldId id="354"/>
            <p14:sldId id="356"/>
            <p14:sldId id="357"/>
            <p14:sldId id="358"/>
            <p14:sldId id="355"/>
          </p14:sldIdLst>
        </p14:section>
        <p14:section name="Conclusion" id="{01947DE0-C6AA-43E7-8247-8D112C68A2A6}">
          <p14:sldIdLst>
            <p14:sldId id="331"/>
            <p14:sldId id="361"/>
            <p14:sldId id="363"/>
            <p14:sldId id="333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77C5A"/>
    <a:srgbClr val="125E4B"/>
    <a:srgbClr val="5E8B6E"/>
    <a:srgbClr val="9FBCB4"/>
    <a:srgbClr val="4F8161"/>
    <a:srgbClr val="00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F3B5141-E994-4AD3-AD35-C066B117E498}" v="2774" dt="2025-09-18T20:12:14.960"/>
  </p1510:revLst>
</p1510:revInfo>
</file>

<file path=ppt/tableStyles.xml><?xml version="1.0" encoding="utf-8"?>
<a:tblStyleLst xmlns:a="http://schemas.openxmlformats.org/drawingml/2006/main" def="{63B48042-AE31-4177-9097-B33D8566F184}">
  <a:tblStyle styleId="{63B48042-AE31-4177-9097-B33D8566F184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BE9401DF-CD6C-4E42-9A2F-2D9D5E302E86}" styleName="Table_1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38" d="100"/>
          <a:sy n="138" d="100"/>
        </p:scale>
        <p:origin x="114" y="120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0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slide" Target="slides/slide36.xml"/><Relationship Id="rId47" Type="http://schemas.openxmlformats.org/officeDocument/2006/relationships/slide" Target="slides/slide41.xml"/><Relationship Id="rId50" Type="http://schemas.openxmlformats.org/officeDocument/2006/relationships/slide" Target="slides/slide44.xml"/><Relationship Id="rId55" Type="http://schemas.openxmlformats.org/officeDocument/2006/relationships/font" Target="fonts/font2.fntdata"/><Relationship Id="rId63" Type="http://schemas.openxmlformats.org/officeDocument/2006/relationships/tableStyles" Target="tableStyles.xml"/><Relationship Id="rId7" Type="http://schemas.openxmlformats.org/officeDocument/2006/relationships/slide" Target="slides/slid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9" Type="http://schemas.openxmlformats.org/officeDocument/2006/relationships/slide" Target="slides/slide2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slide" Target="slides/slide34.xml"/><Relationship Id="rId45" Type="http://schemas.openxmlformats.org/officeDocument/2006/relationships/slide" Target="slides/slide39.xml"/><Relationship Id="rId53" Type="http://schemas.openxmlformats.org/officeDocument/2006/relationships/notesMaster" Target="notesMasters/notesMaster1.xml"/><Relationship Id="rId58" Type="http://schemas.openxmlformats.org/officeDocument/2006/relationships/font" Target="fonts/font5.fntdata"/><Relationship Id="rId5" Type="http://schemas.openxmlformats.org/officeDocument/2006/relationships/slideMaster" Target="slideMasters/slideMaster5.xml"/><Relationship Id="rId61" Type="http://schemas.openxmlformats.org/officeDocument/2006/relationships/viewProps" Target="viewProps.xml"/><Relationship Id="rId19" Type="http://schemas.openxmlformats.org/officeDocument/2006/relationships/slide" Target="slides/slide1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slide" Target="slides/slide37.xml"/><Relationship Id="rId48" Type="http://schemas.openxmlformats.org/officeDocument/2006/relationships/slide" Target="slides/slide42.xml"/><Relationship Id="rId56" Type="http://schemas.openxmlformats.org/officeDocument/2006/relationships/font" Target="fonts/font3.fntdata"/><Relationship Id="rId64" Type="http://schemas.microsoft.com/office/2016/11/relationships/changesInfo" Target="changesInfos/changesInfo1.xml"/><Relationship Id="rId8" Type="http://schemas.openxmlformats.org/officeDocument/2006/relationships/slide" Target="slides/slide2.xml"/><Relationship Id="rId51" Type="http://schemas.openxmlformats.org/officeDocument/2006/relationships/slide" Target="slides/slide45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openxmlformats.org/officeDocument/2006/relationships/slide" Target="slides/slide40.xml"/><Relationship Id="rId59" Type="http://schemas.openxmlformats.org/officeDocument/2006/relationships/tags" Target="tags/tag1.xml"/><Relationship Id="rId20" Type="http://schemas.openxmlformats.org/officeDocument/2006/relationships/slide" Target="slides/slide14.xml"/><Relationship Id="rId41" Type="http://schemas.openxmlformats.org/officeDocument/2006/relationships/slide" Target="slides/slide35.xml"/><Relationship Id="rId54" Type="http://schemas.openxmlformats.org/officeDocument/2006/relationships/font" Target="fonts/font1.fntdata"/><Relationship Id="rId62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49" Type="http://schemas.openxmlformats.org/officeDocument/2006/relationships/slide" Target="slides/slide43.xml"/><Relationship Id="rId57" Type="http://schemas.openxmlformats.org/officeDocument/2006/relationships/font" Target="fonts/font4.fntdata"/><Relationship Id="rId10" Type="http://schemas.openxmlformats.org/officeDocument/2006/relationships/slide" Target="slides/slide4.xml"/><Relationship Id="rId31" Type="http://schemas.openxmlformats.org/officeDocument/2006/relationships/slide" Target="slides/slide25.xml"/><Relationship Id="rId44" Type="http://schemas.openxmlformats.org/officeDocument/2006/relationships/slide" Target="slides/slide38.xml"/><Relationship Id="rId52" Type="http://schemas.openxmlformats.org/officeDocument/2006/relationships/slide" Target="slides/slide46.xml"/><Relationship Id="rId60" Type="http://schemas.openxmlformats.org/officeDocument/2006/relationships/presProps" Target="presProps.xml"/><Relationship Id="rId65" Type="http://schemas.microsoft.com/office/2015/10/relationships/revisionInfo" Target="revisionInfo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39" Type="http://schemas.openxmlformats.org/officeDocument/2006/relationships/slide" Target="slides/slide3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ttia Volpato" userId="d4750074-1d82-4b06-bea9-f9f846aceec4" providerId="ADAL" clId="{598E0B15-66F7-4D4D-9F75-C859811114CD}"/>
    <pc:docChg chg="undo redo custSel addSld delSld modSld sldOrd modSection">
      <pc:chgData name="Mattia Volpato" userId="d4750074-1d82-4b06-bea9-f9f846aceec4" providerId="ADAL" clId="{598E0B15-66F7-4D4D-9F75-C859811114CD}" dt="2025-09-18T20:13:14.484" v="10991" actId="113"/>
      <pc:docMkLst>
        <pc:docMk/>
      </pc:docMkLst>
      <pc:sldChg chg="modSp mod">
        <pc:chgData name="Mattia Volpato" userId="d4750074-1d82-4b06-bea9-f9f846aceec4" providerId="ADAL" clId="{598E0B15-66F7-4D4D-9F75-C859811114CD}" dt="2025-09-17T13:44:57.783" v="5559" actId="207"/>
        <pc:sldMkLst>
          <pc:docMk/>
          <pc:sldMk cId="1471960712" sldId="296"/>
        </pc:sldMkLst>
        <pc:spChg chg="mod">
          <ac:chgData name="Mattia Volpato" userId="d4750074-1d82-4b06-bea9-f9f846aceec4" providerId="ADAL" clId="{598E0B15-66F7-4D4D-9F75-C859811114CD}" dt="2025-09-17T13:44:57.783" v="5559" actId="207"/>
          <ac:spMkLst>
            <pc:docMk/>
            <pc:sldMk cId="1471960712" sldId="296"/>
            <ac:spMk id="10" creationId="{DF7F1B92-FA81-C0E6-AFD3-AC6DA67C21D8}"/>
          </ac:spMkLst>
        </pc:spChg>
      </pc:sldChg>
      <pc:sldChg chg="modSp mod">
        <pc:chgData name="Mattia Volpato" userId="d4750074-1d82-4b06-bea9-f9f846aceec4" providerId="ADAL" clId="{598E0B15-66F7-4D4D-9F75-C859811114CD}" dt="2025-09-18T18:37:09.626" v="9227" actId="20577"/>
        <pc:sldMkLst>
          <pc:docMk/>
          <pc:sldMk cId="3296584249" sldId="297"/>
        </pc:sldMkLst>
        <pc:spChg chg="mod">
          <ac:chgData name="Mattia Volpato" userId="d4750074-1d82-4b06-bea9-f9f846aceec4" providerId="ADAL" clId="{598E0B15-66F7-4D4D-9F75-C859811114CD}" dt="2025-09-18T18:37:09.626" v="9227" actId="20577"/>
          <ac:spMkLst>
            <pc:docMk/>
            <pc:sldMk cId="3296584249" sldId="297"/>
            <ac:spMk id="2" creationId="{212316B8-EEE8-7FCD-F819-DDD74C3422AD}"/>
          </ac:spMkLst>
        </pc:spChg>
        <pc:spChg chg="mod">
          <ac:chgData name="Mattia Volpato" userId="d4750074-1d82-4b06-bea9-f9f846aceec4" providerId="ADAL" clId="{598E0B15-66F7-4D4D-9F75-C859811114CD}" dt="2025-09-17T12:04:51.507" v="4672" actId="255"/>
          <ac:spMkLst>
            <pc:docMk/>
            <pc:sldMk cId="3296584249" sldId="297"/>
            <ac:spMk id="3" creationId="{BB0F2B1D-3814-7AED-D61A-4EF6159C272A}"/>
          </ac:spMkLst>
        </pc:spChg>
      </pc:sldChg>
      <pc:sldChg chg="modSp mod">
        <pc:chgData name="Mattia Volpato" userId="d4750074-1d82-4b06-bea9-f9f846aceec4" providerId="ADAL" clId="{598E0B15-66F7-4D4D-9F75-C859811114CD}" dt="2025-09-17T13:45:04.747" v="5560" actId="207"/>
        <pc:sldMkLst>
          <pc:docMk/>
          <pc:sldMk cId="504063912" sldId="298"/>
        </pc:sldMkLst>
        <pc:spChg chg="mod">
          <ac:chgData name="Mattia Volpato" userId="d4750074-1d82-4b06-bea9-f9f846aceec4" providerId="ADAL" clId="{598E0B15-66F7-4D4D-9F75-C859811114CD}" dt="2025-09-17T13:45:04.747" v="5560" actId="207"/>
          <ac:spMkLst>
            <pc:docMk/>
            <pc:sldMk cId="504063912" sldId="298"/>
            <ac:spMk id="5" creationId="{8C6118A7-0E2D-61D2-27C1-47A8B5CCC5C5}"/>
          </ac:spMkLst>
        </pc:spChg>
      </pc:sldChg>
      <pc:sldChg chg="modSp mod">
        <pc:chgData name="Mattia Volpato" userId="d4750074-1d82-4b06-bea9-f9f846aceec4" providerId="ADAL" clId="{598E0B15-66F7-4D4D-9F75-C859811114CD}" dt="2025-09-17T13:45:15.715" v="5562" actId="207"/>
        <pc:sldMkLst>
          <pc:docMk/>
          <pc:sldMk cId="581465989" sldId="301"/>
        </pc:sldMkLst>
        <pc:spChg chg="mod">
          <ac:chgData name="Mattia Volpato" userId="d4750074-1d82-4b06-bea9-f9f846aceec4" providerId="ADAL" clId="{598E0B15-66F7-4D4D-9F75-C859811114CD}" dt="2025-09-17T13:45:15.715" v="5562" actId="207"/>
          <ac:spMkLst>
            <pc:docMk/>
            <pc:sldMk cId="581465989" sldId="301"/>
            <ac:spMk id="8" creationId="{76123185-6003-6136-FD0F-8894AA7C0AFE}"/>
          </ac:spMkLst>
        </pc:spChg>
      </pc:sldChg>
      <pc:sldChg chg="delSp modSp mod">
        <pc:chgData name="Mattia Volpato" userId="d4750074-1d82-4b06-bea9-f9f846aceec4" providerId="ADAL" clId="{598E0B15-66F7-4D4D-9F75-C859811114CD}" dt="2025-09-18T20:08:06.842" v="10957" actId="20577"/>
        <pc:sldMkLst>
          <pc:docMk/>
          <pc:sldMk cId="2458540550" sldId="307"/>
        </pc:sldMkLst>
        <pc:spChg chg="mod">
          <ac:chgData name="Mattia Volpato" userId="d4750074-1d82-4b06-bea9-f9f846aceec4" providerId="ADAL" clId="{598E0B15-66F7-4D4D-9F75-C859811114CD}" dt="2025-09-17T13:45:37.962" v="5566" actId="207"/>
          <ac:spMkLst>
            <pc:docMk/>
            <pc:sldMk cId="2458540550" sldId="307"/>
            <ac:spMk id="7" creationId="{2C6AAF22-8B83-97B5-9075-8E66A8CB780C}"/>
          </ac:spMkLst>
        </pc:spChg>
        <pc:spChg chg="mod">
          <ac:chgData name="Mattia Volpato" userId="d4750074-1d82-4b06-bea9-f9f846aceec4" providerId="ADAL" clId="{598E0B15-66F7-4D4D-9F75-C859811114CD}" dt="2025-09-17T13:45:52.659" v="5568" actId="2711"/>
          <ac:spMkLst>
            <pc:docMk/>
            <pc:sldMk cId="2458540550" sldId="307"/>
            <ac:spMk id="11" creationId="{4AF9F62B-A3D1-93B9-6D53-75083F3B39D6}"/>
          </ac:spMkLst>
        </pc:spChg>
        <pc:spChg chg="mod">
          <ac:chgData name="Mattia Volpato" userId="d4750074-1d82-4b06-bea9-f9f846aceec4" providerId="ADAL" clId="{598E0B15-66F7-4D4D-9F75-C859811114CD}" dt="2025-09-18T20:08:06.842" v="10957" actId="20577"/>
          <ac:spMkLst>
            <pc:docMk/>
            <pc:sldMk cId="2458540550" sldId="307"/>
            <ac:spMk id="17" creationId="{D7AFA29D-DD90-72E8-2F5D-DA33CD13CAC6}"/>
          </ac:spMkLst>
        </pc:spChg>
        <pc:spChg chg="mod">
          <ac:chgData name="Mattia Volpato" userId="d4750074-1d82-4b06-bea9-f9f846aceec4" providerId="ADAL" clId="{598E0B15-66F7-4D4D-9F75-C859811114CD}" dt="2025-09-17T13:45:45.862" v="5567" actId="2711"/>
          <ac:spMkLst>
            <pc:docMk/>
            <pc:sldMk cId="2458540550" sldId="307"/>
            <ac:spMk id="20" creationId="{F61A6476-139B-6CD3-91BC-9F2FD68320A3}"/>
          </ac:spMkLst>
        </pc:spChg>
        <pc:spChg chg="del">
          <ac:chgData name="Mattia Volpato" userId="d4750074-1d82-4b06-bea9-f9f846aceec4" providerId="ADAL" clId="{598E0B15-66F7-4D4D-9F75-C859811114CD}" dt="2025-09-18T20:08:05.532" v="10956" actId="478"/>
          <ac:spMkLst>
            <pc:docMk/>
            <pc:sldMk cId="2458540550" sldId="307"/>
            <ac:spMk id="23" creationId="{8B25BF9A-2D73-FD4C-64DF-97306FBBDA8B}"/>
          </ac:spMkLst>
        </pc:spChg>
      </pc:sldChg>
      <pc:sldChg chg="modSp mod">
        <pc:chgData name="Mattia Volpato" userId="d4750074-1d82-4b06-bea9-f9f846aceec4" providerId="ADAL" clId="{598E0B15-66F7-4D4D-9F75-C859811114CD}" dt="2025-09-17T13:47:08.254" v="5583" actId="207"/>
        <pc:sldMkLst>
          <pc:docMk/>
          <pc:sldMk cId="1784023086" sldId="309"/>
        </pc:sldMkLst>
        <pc:spChg chg="mod">
          <ac:chgData name="Mattia Volpato" userId="d4750074-1d82-4b06-bea9-f9f846aceec4" providerId="ADAL" clId="{598E0B15-66F7-4D4D-9F75-C859811114CD}" dt="2025-09-17T13:47:08.254" v="5583" actId="207"/>
          <ac:spMkLst>
            <pc:docMk/>
            <pc:sldMk cId="1784023086" sldId="309"/>
            <ac:spMk id="7" creationId="{07299546-006F-2DA1-94F6-8883AE60A43C}"/>
          </ac:spMkLst>
        </pc:spChg>
      </pc:sldChg>
      <pc:sldChg chg="modSp mod">
        <pc:chgData name="Mattia Volpato" userId="d4750074-1d82-4b06-bea9-f9f846aceec4" providerId="ADAL" clId="{598E0B15-66F7-4D4D-9F75-C859811114CD}" dt="2025-09-17T13:47:27.038" v="5587" actId="14100"/>
        <pc:sldMkLst>
          <pc:docMk/>
          <pc:sldMk cId="2725699867" sldId="310"/>
        </pc:sldMkLst>
        <pc:spChg chg="mod">
          <ac:chgData name="Mattia Volpato" userId="d4750074-1d82-4b06-bea9-f9f846aceec4" providerId="ADAL" clId="{598E0B15-66F7-4D4D-9F75-C859811114CD}" dt="2025-09-17T08:32:19.674" v="2081" actId="1035"/>
          <ac:spMkLst>
            <pc:docMk/>
            <pc:sldMk cId="2725699867" sldId="310"/>
            <ac:spMk id="3" creationId="{0ACBE8AD-AD7D-A8AF-5925-1C1ADE05AE45}"/>
          </ac:spMkLst>
        </pc:spChg>
        <pc:spChg chg="mod">
          <ac:chgData name="Mattia Volpato" userId="d4750074-1d82-4b06-bea9-f9f846aceec4" providerId="ADAL" clId="{598E0B15-66F7-4D4D-9F75-C859811114CD}" dt="2025-09-17T13:47:27.038" v="5587" actId="14100"/>
          <ac:spMkLst>
            <pc:docMk/>
            <pc:sldMk cId="2725699867" sldId="310"/>
            <ac:spMk id="9" creationId="{ED2A0887-9644-58BE-1EFB-F21F50617890}"/>
          </ac:spMkLst>
        </pc:spChg>
        <pc:spChg chg="mod">
          <ac:chgData name="Mattia Volpato" userId="d4750074-1d82-4b06-bea9-f9f846aceec4" providerId="ADAL" clId="{598E0B15-66F7-4D4D-9F75-C859811114CD}" dt="2025-09-17T13:47:13.253" v="5584" actId="207"/>
          <ac:spMkLst>
            <pc:docMk/>
            <pc:sldMk cId="2725699867" sldId="310"/>
            <ac:spMk id="20" creationId="{685818B4-A198-0F6C-9DF1-EFD73D2AF65C}"/>
          </ac:spMkLst>
        </pc:spChg>
      </pc:sldChg>
      <pc:sldChg chg="del">
        <pc:chgData name="Mattia Volpato" userId="d4750074-1d82-4b06-bea9-f9f846aceec4" providerId="ADAL" clId="{598E0B15-66F7-4D4D-9F75-C859811114CD}" dt="2025-09-18T18:47:51.646" v="9707" actId="47"/>
        <pc:sldMkLst>
          <pc:docMk/>
          <pc:sldMk cId="3428306698" sldId="311"/>
        </pc:sldMkLst>
      </pc:sldChg>
      <pc:sldChg chg="del">
        <pc:chgData name="Mattia Volpato" userId="d4750074-1d82-4b06-bea9-f9f846aceec4" providerId="ADAL" clId="{598E0B15-66F7-4D4D-9F75-C859811114CD}" dt="2025-09-18T18:46:34.797" v="9696" actId="2696"/>
        <pc:sldMkLst>
          <pc:docMk/>
          <pc:sldMk cId="476881696" sldId="312"/>
        </pc:sldMkLst>
      </pc:sldChg>
      <pc:sldChg chg="del">
        <pc:chgData name="Mattia Volpato" userId="d4750074-1d82-4b06-bea9-f9f846aceec4" providerId="ADAL" clId="{598E0B15-66F7-4D4D-9F75-C859811114CD}" dt="2025-09-18T18:46:37.258" v="9697" actId="47"/>
        <pc:sldMkLst>
          <pc:docMk/>
          <pc:sldMk cId="2311359738" sldId="313"/>
        </pc:sldMkLst>
      </pc:sldChg>
      <pc:sldChg chg="del">
        <pc:chgData name="Mattia Volpato" userId="d4750074-1d82-4b06-bea9-f9f846aceec4" providerId="ADAL" clId="{598E0B15-66F7-4D4D-9F75-C859811114CD}" dt="2025-09-18T18:46:38.373" v="9698" actId="47"/>
        <pc:sldMkLst>
          <pc:docMk/>
          <pc:sldMk cId="2116755779" sldId="314"/>
        </pc:sldMkLst>
      </pc:sldChg>
      <pc:sldChg chg="del">
        <pc:chgData name="Mattia Volpato" userId="d4750074-1d82-4b06-bea9-f9f846aceec4" providerId="ADAL" clId="{598E0B15-66F7-4D4D-9F75-C859811114CD}" dt="2025-09-18T18:46:39.509" v="9699" actId="47"/>
        <pc:sldMkLst>
          <pc:docMk/>
          <pc:sldMk cId="2894161044" sldId="315"/>
        </pc:sldMkLst>
      </pc:sldChg>
      <pc:sldChg chg="delSp modSp del mod">
        <pc:chgData name="Mattia Volpato" userId="d4750074-1d82-4b06-bea9-f9f846aceec4" providerId="ADAL" clId="{598E0B15-66F7-4D4D-9F75-C859811114CD}" dt="2025-09-17T07:45:17.989" v="919" actId="2696"/>
        <pc:sldMkLst>
          <pc:docMk/>
          <pc:sldMk cId="2895850927" sldId="316"/>
        </pc:sldMkLst>
        <pc:spChg chg="del mod">
          <ac:chgData name="Mattia Volpato" userId="d4750074-1d82-4b06-bea9-f9f846aceec4" providerId="ADAL" clId="{598E0B15-66F7-4D4D-9F75-C859811114CD}" dt="2025-09-17T07:37:21.049" v="680" actId="478"/>
          <ac:spMkLst>
            <pc:docMk/>
            <pc:sldMk cId="2895850927" sldId="316"/>
            <ac:spMk id="16" creationId="{79E72EBB-D5BA-0BEE-15FD-F21D490B9770}"/>
          </ac:spMkLst>
        </pc:spChg>
        <pc:grpChg chg="del">
          <ac:chgData name="Mattia Volpato" userId="d4750074-1d82-4b06-bea9-f9f846aceec4" providerId="ADAL" clId="{598E0B15-66F7-4D4D-9F75-C859811114CD}" dt="2025-09-17T07:37:19.072" v="678" actId="478"/>
          <ac:grpSpMkLst>
            <pc:docMk/>
            <pc:sldMk cId="2895850927" sldId="316"/>
            <ac:grpSpMk id="4" creationId="{30777746-2B89-C43A-ED54-E2859F570618}"/>
          </ac:grpSpMkLst>
        </pc:grpChg>
      </pc:sldChg>
      <pc:sldChg chg="modSp mod">
        <pc:chgData name="Mattia Volpato" userId="d4750074-1d82-4b06-bea9-f9f846aceec4" providerId="ADAL" clId="{598E0B15-66F7-4D4D-9F75-C859811114CD}" dt="2025-09-17T13:47:50.960" v="5589" actId="1076"/>
        <pc:sldMkLst>
          <pc:docMk/>
          <pc:sldMk cId="4127462289" sldId="317"/>
        </pc:sldMkLst>
        <pc:spChg chg="mod">
          <ac:chgData name="Mattia Volpato" userId="d4750074-1d82-4b06-bea9-f9f846aceec4" providerId="ADAL" clId="{598E0B15-66F7-4D4D-9F75-C859811114CD}" dt="2025-09-17T13:47:48.595" v="5588" actId="1076"/>
          <ac:spMkLst>
            <pc:docMk/>
            <pc:sldMk cId="4127462289" sldId="317"/>
            <ac:spMk id="19" creationId="{FEF75950-A634-3B8C-6DA8-61B651DBBF76}"/>
          </ac:spMkLst>
        </pc:spChg>
        <pc:spChg chg="mod">
          <ac:chgData name="Mattia Volpato" userId="d4750074-1d82-4b06-bea9-f9f846aceec4" providerId="ADAL" clId="{598E0B15-66F7-4D4D-9F75-C859811114CD}" dt="2025-09-17T13:47:50.960" v="5589" actId="1076"/>
          <ac:spMkLst>
            <pc:docMk/>
            <pc:sldMk cId="4127462289" sldId="317"/>
            <ac:spMk id="21" creationId="{BC1E4DCA-D5CD-451D-B8BB-A6F5B74B9410}"/>
          </ac:spMkLst>
        </pc:spChg>
      </pc:sldChg>
      <pc:sldChg chg="del">
        <pc:chgData name="Mattia Volpato" userId="d4750074-1d82-4b06-bea9-f9f846aceec4" providerId="ADAL" clId="{598E0B15-66F7-4D4D-9F75-C859811114CD}" dt="2025-09-18T18:46:41.255" v="9700" actId="47"/>
        <pc:sldMkLst>
          <pc:docMk/>
          <pc:sldMk cId="3966949533" sldId="318"/>
        </pc:sldMkLst>
      </pc:sldChg>
      <pc:sldChg chg="del ord">
        <pc:chgData name="Mattia Volpato" userId="d4750074-1d82-4b06-bea9-f9f846aceec4" providerId="ADAL" clId="{598E0B15-66F7-4D4D-9F75-C859811114CD}" dt="2025-09-17T08:48:04.219" v="2401" actId="2696"/>
        <pc:sldMkLst>
          <pc:docMk/>
          <pc:sldMk cId="1100173371" sldId="319"/>
        </pc:sldMkLst>
      </pc:sldChg>
      <pc:sldChg chg="modSp mod">
        <pc:chgData name="Mattia Volpato" userId="d4750074-1d82-4b06-bea9-f9f846aceec4" providerId="ADAL" clId="{598E0B15-66F7-4D4D-9F75-C859811114CD}" dt="2025-09-17T13:45:24.240" v="5563" actId="207"/>
        <pc:sldMkLst>
          <pc:docMk/>
          <pc:sldMk cId="585652161" sldId="320"/>
        </pc:sldMkLst>
        <pc:spChg chg="mod">
          <ac:chgData name="Mattia Volpato" userId="d4750074-1d82-4b06-bea9-f9f846aceec4" providerId="ADAL" clId="{598E0B15-66F7-4D4D-9F75-C859811114CD}" dt="2025-09-17T13:45:24.240" v="5563" actId="207"/>
          <ac:spMkLst>
            <pc:docMk/>
            <pc:sldMk cId="585652161" sldId="320"/>
            <ac:spMk id="17" creationId="{CFE0237E-07B0-095F-CCC5-416010814B23}"/>
          </ac:spMkLst>
        </pc:spChg>
      </pc:sldChg>
      <pc:sldChg chg="modSp mod">
        <pc:chgData name="Mattia Volpato" userId="d4750074-1d82-4b06-bea9-f9f846aceec4" providerId="ADAL" clId="{598E0B15-66F7-4D4D-9F75-C859811114CD}" dt="2025-09-17T13:53:28.599" v="5608" actId="255"/>
        <pc:sldMkLst>
          <pc:docMk/>
          <pc:sldMk cId="2585341399" sldId="325"/>
        </pc:sldMkLst>
        <pc:spChg chg="mod">
          <ac:chgData name="Mattia Volpato" userId="d4750074-1d82-4b06-bea9-f9f846aceec4" providerId="ADAL" clId="{598E0B15-66F7-4D4D-9F75-C859811114CD}" dt="2025-09-17T13:53:28.599" v="5608" actId="255"/>
          <ac:spMkLst>
            <pc:docMk/>
            <pc:sldMk cId="2585341399" sldId="325"/>
            <ac:spMk id="12" creationId="{07959758-DAF0-24C0-671C-3BE67176F7E2}"/>
          </ac:spMkLst>
        </pc:spChg>
        <pc:spChg chg="mod">
          <ac:chgData name="Mattia Volpato" userId="d4750074-1d82-4b06-bea9-f9f846aceec4" providerId="ADAL" clId="{598E0B15-66F7-4D4D-9F75-C859811114CD}" dt="2025-09-17T13:45:29.618" v="5564" actId="207"/>
          <ac:spMkLst>
            <pc:docMk/>
            <pc:sldMk cId="2585341399" sldId="325"/>
            <ac:spMk id="18" creationId="{3207C4F0-93C0-86A0-CA5A-DAF2A82C0BE2}"/>
          </ac:spMkLst>
        </pc:spChg>
      </pc:sldChg>
      <pc:sldChg chg="addSp delSp modSp del mod">
        <pc:chgData name="Mattia Volpato" userId="d4750074-1d82-4b06-bea9-f9f846aceec4" providerId="ADAL" clId="{598E0B15-66F7-4D4D-9F75-C859811114CD}" dt="2025-09-17T12:04:03.372" v="4634" actId="2696"/>
        <pc:sldMkLst>
          <pc:docMk/>
          <pc:sldMk cId="2865749735" sldId="332"/>
        </pc:sldMkLst>
        <pc:spChg chg="add del">
          <ac:chgData name="Mattia Volpato" userId="d4750074-1d82-4b06-bea9-f9f846aceec4" providerId="ADAL" clId="{598E0B15-66F7-4D4D-9F75-C859811114CD}" dt="2025-09-17T09:47:10.522" v="4232" actId="478"/>
          <ac:spMkLst>
            <pc:docMk/>
            <pc:sldMk cId="2865749735" sldId="332"/>
            <ac:spMk id="5" creationId="{15883B42-84F2-27D2-AC9B-F28AAD80F892}"/>
          </ac:spMkLst>
        </pc:spChg>
        <pc:spChg chg="add del">
          <ac:chgData name="Mattia Volpato" userId="d4750074-1d82-4b06-bea9-f9f846aceec4" providerId="ADAL" clId="{598E0B15-66F7-4D4D-9F75-C859811114CD}" dt="2025-09-17T09:47:11.245" v="4236" actId="478"/>
          <ac:spMkLst>
            <pc:docMk/>
            <pc:sldMk cId="2865749735" sldId="332"/>
            <ac:spMk id="10" creationId="{720A660A-EE45-03CA-AE1B-E0860BEE82D1}"/>
          </ac:spMkLst>
        </pc:spChg>
        <pc:spChg chg="add mod">
          <ac:chgData name="Mattia Volpato" userId="d4750074-1d82-4b06-bea9-f9f846aceec4" providerId="ADAL" clId="{598E0B15-66F7-4D4D-9F75-C859811114CD}" dt="2025-09-17T09:47:10.089" v="4231" actId="20577"/>
          <ac:spMkLst>
            <pc:docMk/>
            <pc:sldMk cId="2865749735" sldId="332"/>
            <ac:spMk id="11" creationId="{4C831355-4959-144E-192F-284F28BD1499}"/>
          </ac:spMkLst>
        </pc:spChg>
        <pc:spChg chg="add del">
          <ac:chgData name="Mattia Volpato" userId="d4750074-1d82-4b06-bea9-f9f846aceec4" providerId="ADAL" clId="{598E0B15-66F7-4D4D-9F75-C859811114CD}" dt="2025-09-17T09:47:10.701" v="4233" actId="478"/>
          <ac:spMkLst>
            <pc:docMk/>
            <pc:sldMk cId="2865749735" sldId="332"/>
            <ac:spMk id="14" creationId="{2ECD8D6D-8DEC-B9FC-6417-9F168DEE23E1}"/>
          </ac:spMkLst>
        </pc:spChg>
        <pc:spChg chg="add del">
          <ac:chgData name="Mattia Volpato" userId="d4750074-1d82-4b06-bea9-f9f846aceec4" providerId="ADAL" clId="{598E0B15-66F7-4D4D-9F75-C859811114CD}" dt="2025-09-17T09:47:11.069" v="4235" actId="478"/>
          <ac:spMkLst>
            <pc:docMk/>
            <pc:sldMk cId="2865749735" sldId="332"/>
            <ac:spMk id="17" creationId="{2DF5FDDF-4CF2-9F56-DB18-4A96FF32680D}"/>
          </ac:spMkLst>
        </pc:spChg>
        <pc:spChg chg="add del mod">
          <ac:chgData name="Mattia Volpato" userId="d4750074-1d82-4b06-bea9-f9f846aceec4" providerId="ADAL" clId="{598E0B15-66F7-4D4D-9F75-C859811114CD}" dt="2025-09-17T09:47:08.851" v="4226" actId="20577"/>
          <ac:spMkLst>
            <pc:docMk/>
            <pc:sldMk cId="2865749735" sldId="332"/>
            <ac:spMk id="19" creationId="{1089AB97-373D-88D0-28B2-0E0EE6FB03CA}"/>
          </ac:spMkLst>
        </pc:spChg>
        <pc:spChg chg="add del">
          <ac:chgData name="Mattia Volpato" userId="d4750074-1d82-4b06-bea9-f9f846aceec4" providerId="ADAL" clId="{598E0B15-66F7-4D4D-9F75-C859811114CD}" dt="2025-09-17T09:47:09.094" v="4227" actId="478"/>
          <ac:spMkLst>
            <pc:docMk/>
            <pc:sldMk cId="2865749735" sldId="332"/>
            <ac:spMk id="20" creationId="{20CE248A-EE95-04D3-3CAE-39B668358711}"/>
          </ac:spMkLst>
        </pc:spChg>
        <pc:spChg chg="mod">
          <ac:chgData name="Mattia Volpato" userId="d4750074-1d82-4b06-bea9-f9f846aceec4" providerId="ADAL" clId="{598E0B15-66F7-4D4D-9F75-C859811114CD}" dt="2025-09-17T09:47:08.209" v="4224" actId="1076"/>
          <ac:spMkLst>
            <pc:docMk/>
            <pc:sldMk cId="2865749735" sldId="332"/>
            <ac:spMk id="22" creationId="{2E6148CB-68D6-4D07-6BFD-82405514C643}"/>
          </ac:spMkLst>
        </pc:spChg>
        <pc:spChg chg="add del">
          <ac:chgData name="Mattia Volpato" userId="d4750074-1d82-4b06-bea9-f9f846aceec4" providerId="ADAL" clId="{598E0B15-66F7-4D4D-9F75-C859811114CD}" dt="2025-09-17T09:47:09.335" v="4228" actId="478"/>
          <ac:spMkLst>
            <pc:docMk/>
            <pc:sldMk cId="2865749735" sldId="332"/>
            <ac:spMk id="23" creationId="{81BDB8F4-E809-D99D-BB4D-4F9AEED300D7}"/>
          </ac:spMkLst>
        </pc:spChg>
        <pc:grpChg chg="add del">
          <ac:chgData name="Mattia Volpato" userId="d4750074-1d82-4b06-bea9-f9f846aceec4" providerId="ADAL" clId="{598E0B15-66F7-4D4D-9F75-C859811114CD}" dt="2025-09-17T09:47:13.577" v="4242" actId="478"/>
          <ac:grpSpMkLst>
            <pc:docMk/>
            <pc:sldMk cId="2865749735" sldId="332"/>
            <ac:grpSpMk id="4" creationId="{CCFDED8F-3198-A35F-9619-CE33082C50B8}"/>
          </ac:grpSpMkLst>
        </pc:grpChg>
        <pc:picChg chg="add del">
          <ac:chgData name="Mattia Volpato" userId="d4750074-1d82-4b06-bea9-f9f846aceec4" providerId="ADAL" clId="{598E0B15-66F7-4D4D-9F75-C859811114CD}" dt="2025-09-17T09:47:10.897" v="4234" actId="478"/>
          <ac:picMkLst>
            <pc:docMk/>
            <pc:sldMk cId="2865749735" sldId="332"/>
            <ac:picMk id="18" creationId="{EC38946B-1103-9E08-2657-8D0660156C85}"/>
          </ac:picMkLst>
        </pc:picChg>
      </pc:sldChg>
      <pc:sldChg chg="modSp mod">
        <pc:chgData name="Mattia Volpato" userId="d4750074-1d82-4b06-bea9-f9f846aceec4" providerId="ADAL" clId="{598E0B15-66F7-4D4D-9F75-C859811114CD}" dt="2025-09-17T13:52:17.768" v="5607" actId="255"/>
        <pc:sldMkLst>
          <pc:docMk/>
          <pc:sldMk cId="1894329829" sldId="333"/>
        </pc:sldMkLst>
        <pc:spChg chg="mod">
          <ac:chgData name="Mattia Volpato" userId="d4750074-1d82-4b06-bea9-f9f846aceec4" providerId="ADAL" clId="{598E0B15-66F7-4D4D-9F75-C859811114CD}" dt="2025-09-17T13:52:17.768" v="5607" actId="255"/>
          <ac:spMkLst>
            <pc:docMk/>
            <pc:sldMk cId="1894329829" sldId="333"/>
            <ac:spMk id="2" creationId="{EB0C8153-69C7-32BB-73F9-B93CD93E0B91}"/>
          </ac:spMkLst>
        </pc:spChg>
      </pc:sldChg>
      <pc:sldChg chg="modSp mod">
        <pc:chgData name="Mattia Volpato" userId="d4750074-1d82-4b06-bea9-f9f846aceec4" providerId="ADAL" clId="{598E0B15-66F7-4D4D-9F75-C859811114CD}" dt="2025-09-18T18:47:04.806" v="9706" actId="20577"/>
        <pc:sldMkLst>
          <pc:docMk/>
          <pc:sldMk cId="3018409985" sldId="334"/>
        </pc:sldMkLst>
        <pc:spChg chg="mod">
          <ac:chgData name="Mattia Volpato" userId="d4750074-1d82-4b06-bea9-f9f846aceec4" providerId="ADAL" clId="{598E0B15-66F7-4D4D-9F75-C859811114CD}" dt="2025-09-18T18:47:04.806" v="9706" actId="20577"/>
          <ac:spMkLst>
            <pc:docMk/>
            <pc:sldMk cId="3018409985" sldId="334"/>
            <ac:spMk id="4" creationId="{6B49AAC5-0255-7ABF-7631-679664723177}"/>
          </ac:spMkLst>
        </pc:spChg>
        <pc:spChg chg="mod">
          <ac:chgData name="Mattia Volpato" userId="d4750074-1d82-4b06-bea9-f9f846aceec4" providerId="ADAL" clId="{598E0B15-66F7-4D4D-9F75-C859811114CD}" dt="2025-09-17T13:45:10.339" v="5561" actId="207"/>
          <ac:spMkLst>
            <pc:docMk/>
            <pc:sldMk cId="3018409985" sldId="334"/>
            <ac:spMk id="5" creationId="{58BBC862-44E0-450F-97C2-A0022FA64CBB}"/>
          </ac:spMkLst>
        </pc:spChg>
        <pc:spChg chg="mod">
          <ac:chgData name="Mattia Volpato" userId="d4750074-1d82-4b06-bea9-f9f846aceec4" providerId="ADAL" clId="{598E0B15-66F7-4D4D-9F75-C859811114CD}" dt="2025-09-18T18:47:01.740" v="9703" actId="20577"/>
          <ac:spMkLst>
            <pc:docMk/>
            <pc:sldMk cId="3018409985" sldId="334"/>
            <ac:spMk id="20" creationId="{05B34B5C-F3DC-ABEA-D028-F144CEDF9F75}"/>
          </ac:spMkLst>
        </pc:spChg>
      </pc:sldChg>
      <pc:sldChg chg="modSp mod">
        <pc:chgData name="Mattia Volpato" userId="d4750074-1d82-4b06-bea9-f9f846aceec4" providerId="ADAL" clId="{598E0B15-66F7-4D4D-9F75-C859811114CD}" dt="2025-09-17T13:46:14.345" v="5570" actId="207"/>
        <pc:sldMkLst>
          <pc:docMk/>
          <pc:sldMk cId="1440069153" sldId="339"/>
        </pc:sldMkLst>
        <pc:spChg chg="mod">
          <ac:chgData name="Mattia Volpato" userId="d4750074-1d82-4b06-bea9-f9f846aceec4" providerId="ADAL" clId="{598E0B15-66F7-4D4D-9F75-C859811114CD}" dt="2025-09-17T08:31:39.784" v="2070" actId="20577"/>
          <ac:spMkLst>
            <pc:docMk/>
            <pc:sldMk cId="1440069153" sldId="339"/>
            <ac:spMk id="3" creationId="{85F0BC73-D1C8-99B9-AEAA-090EFE260D01}"/>
          </ac:spMkLst>
        </pc:spChg>
        <pc:spChg chg="mod">
          <ac:chgData name="Mattia Volpato" userId="d4750074-1d82-4b06-bea9-f9f846aceec4" providerId="ADAL" clId="{598E0B15-66F7-4D4D-9F75-C859811114CD}" dt="2025-09-17T13:46:12.018" v="5569" actId="207"/>
          <ac:spMkLst>
            <pc:docMk/>
            <pc:sldMk cId="1440069153" sldId="339"/>
            <ac:spMk id="4" creationId="{946639CE-2F27-F6FF-2A78-6ADB8D2785E6}"/>
          </ac:spMkLst>
        </pc:spChg>
        <pc:spChg chg="mod">
          <ac:chgData name="Mattia Volpato" userId="d4750074-1d82-4b06-bea9-f9f846aceec4" providerId="ADAL" clId="{598E0B15-66F7-4D4D-9F75-C859811114CD}" dt="2025-09-17T13:46:14.345" v="5570" actId="207"/>
          <ac:spMkLst>
            <pc:docMk/>
            <pc:sldMk cId="1440069153" sldId="339"/>
            <ac:spMk id="13" creationId="{77AD366E-28EF-5EC5-6E5B-17D292726980}"/>
          </ac:spMkLst>
        </pc:spChg>
        <pc:spChg chg="mod">
          <ac:chgData name="Mattia Volpato" userId="d4750074-1d82-4b06-bea9-f9f846aceec4" providerId="ADAL" clId="{598E0B15-66F7-4D4D-9F75-C859811114CD}" dt="2025-09-17T13:44:27.190" v="5558" actId="20577"/>
          <ac:spMkLst>
            <pc:docMk/>
            <pc:sldMk cId="1440069153" sldId="339"/>
            <ac:spMk id="32" creationId="{0CB8B2B5-4DD5-D52F-5C9D-E8DE884AA5E8}"/>
          </ac:spMkLst>
        </pc:spChg>
      </pc:sldChg>
      <pc:sldChg chg="modSp mod">
        <pc:chgData name="Mattia Volpato" userId="d4750074-1d82-4b06-bea9-f9f846aceec4" providerId="ADAL" clId="{598E0B15-66F7-4D4D-9F75-C859811114CD}" dt="2025-09-17T13:46:22.978" v="5572" actId="207"/>
        <pc:sldMkLst>
          <pc:docMk/>
          <pc:sldMk cId="2813110762" sldId="342"/>
        </pc:sldMkLst>
        <pc:spChg chg="mod">
          <ac:chgData name="Mattia Volpato" userId="d4750074-1d82-4b06-bea9-f9f846aceec4" providerId="ADAL" clId="{598E0B15-66F7-4D4D-9F75-C859811114CD}" dt="2025-09-17T08:31:46.390" v="2074" actId="20577"/>
          <ac:spMkLst>
            <pc:docMk/>
            <pc:sldMk cId="2813110762" sldId="342"/>
            <ac:spMk id="3" creationId="{BCFD3DC0-3A1D-3DC9-BA2A-991BCAD0439D}"/>
          </ac:spMkLst>
        </pc:spChg>
        <pc:spChg chg="mod">
          <ac:chgData name="Mattia Volpato" userId="d4750074-1d82-4b06-bea9-f9f846aceec4" providerId="ADAL" clId="{598E0B15-66F7-4D4D-9F75-C859811114CD}" dt="2025-09-17T13:46:22.978" v="5572" actId="207"/>
          <ac:spMkLst>
            <pc:docMk/>
            <pc:sldMk cId="2813110762" sldId="342"/>
            <ac:spMk id="4" creationId="{FF755D45-087A-58D1-FC13-DF15365FA88D}"/>
          </ac:spMkLst>
        </pc:spChg>
        <pc:spChg chg="mod">
          <ac:chgData name="Mattia Volpato" userId="d4750074-1d82-4b06-bea9-f9f846aceec4" providerId="ADAL" clId="{598E0B15-66F7-4D4D-9F75-C859811114CD}" dt="2025-09-17T13:46:20.317" v="5571" actId="207"/>
          <ac:spMkLst>
            <pc:docMk/>
            <pc:sldMk cId="2813110762" sldId="342"/>
            <ac:spMk id="34" creationId="{3A5DAC6B-5182-626E-2A7B-87A8A0A529BF}"/>
          </ac:spMkLst>
        </pc:spChg>
      </pc:sldChg>
      <pc:sldChg chg="modSp mod">
        <pc:chgData name="Mattia Volpato" userId="d4750074-1d82-4b06-bea9-f9f846aceec4" providerId="ADAL" clId="{598E0B15-66F7-4D4D-9F75-C859811114CD}" dt="2025-09-17T13:46:55.869" v="5582"/>
        <pc:sldMkLst>
          <pc:docMk/>
          <pc:sldMk cId="3701471978" sldId="343"/>
        </pc:sldMkLst>
        <pc:spChg chg="mod">
          <ac:chgData name="Mattia Volpato" userId="d4750074-1d82-4b06-bea9-f9f846aceec4" providerId="ADAL" clId="{598E0B15-66F7-4D4D-9F75-C859811114CD}" dt="2025-09-17T08:31:51.909" v="2078" actId="20577"/>
          <ac:spMkLst>
            <pc:docMk/>
            <pc:sldMk cId="3701471978" sldId="343"/>
            <ac:spMk id="3" creationId="{0F3D367C-5ABE-6E64-AC4C-7F04892453FB}"/>
          </ac:spMkLst>
        </pc:spChg>
        <pc:spChg chg="mod">
          <ac:chgData name="Mattia Volpato" userId="d4750074-1d82-4b06-bea9-f9f846aceec4" providerId="ADAL" clId="{598E0B15-66F7-4D4D-9F75-C859811114CD}" dt="2025-09-17T13:46:30.099" v="5573" actId="207"/>
          <ac:spMkLst>
            <pc:docMk/>
            <pc:sldMk cId="3701471978" sldId="343"/>
            <ac:spMk id="4" creationId="{9194B36E-F097-7DAA-7F98-780C42211225}"/>
          </ac:spMkLst>
        </pc:spChg>
        <pc:spChg chg="mod">
          <ac:chgData name="Mattia Volpato" userId="d4750074-1d82-4b06-bea9-f9f846aceec4" providerId="ADAL" clId="{598E0B15-66F7-4D4D-9F75-C859811114CD}" dt="2025-09-17T13:46:33.936" v="5574" actId="207"/>
          <ac:spMkLst>
            <pc:docMk/>
            <pc:sldMk cId="3701471978" sldId="343"/>
            <ac:spMk id="29" creationId="{4FFEB157-6598-6A70-1061-5D6959356F5B}"/>
          </ac:spMkLst>
        </pc:spChg>
        <pc:spChg chg="mod">
          <ac:chgData name="Mattia Volpato" userId="d4750074-1d82-4b06-bea9-f9f846aceec4" providerId="ADAL" clId="{598E0B15-66F7-4D4D-9F75-C859811114CD}" dt="2025-09-17T13:46:55.869" v="5582"/>
          <ac:spMkLst>
            <pc:docMk/>
            <pc:sldMk cId="3701471978" sldId="343"/>
            <ac:spMk id="32" creationId="{299BD239-8525-7C42-3FBF-F49541C21847}"/>
          </ac:spMkLst>
        </pc:spChg>
      </pc:sldChg>
      <pc:sldChg chg="modSp mod">
        <pc:chgData name="Mattia Volpato" userId="d4750074-1d82-4b06-bea9-f9f846aceec4" providerId="ADAL" clId="{598E0B15-66F7-4D4D-9F75-C859811114CD}" dt="2025-09-18T20:09:45.257" v="10960" actId="114"/>
        <pc:sldMkLst>
          <pc:docMk/>
          <pc:sldMk cId="943570920" sldId="344"/>
        </pc:sldMkLst>
        <pc:spChg chg="mod">
          <ac:chgData name="Mattia Volpato" userId="d4750074-1d82-4b06-bea9-f9f846aceec4" providerId="ADAL" clId="{598E0B15-66F7-4D4D-9F75-C859811114CD}" dt="2025-09-17T08:32:37.241" v="2085" actId="20577"/>
          <ac:spMkLst>
            <pc:docMk/>
            <pc:sldMk cId="943570920" sldId="344"/>
            <ac:spMk id="3" creationId="{3A5183BE-7662-D7A6-63E2-E298A53D2A6A}"/>
          </ac:spMkLst>
        </pc:spChg>
        <pc:spChg chg="mod">
          <ac:chgData name="Mattia Volpato" userId="d4750074-1d82-4b06-bea9-f9f846aceec4" providerId="ADAL" clId="{598E0B15-66F7-4D4D-9F75-C859811114CD}" dt="2025-09-18T20:09:45.257" v="10960" actId="114"/>
          <ac:spMkLst>
            <pc:docMk/>
            <pc:sldMk cId="943570920" sldId="344"/>
            <ac:spMk id="6" creationId="{4A3AFB96-3BAE-2849-6AD1-A1722B6C5042}"/>
          </ac:spMkLst>
        </pc:spChg>
        <pc:spChg chg="mod">
          <ac:chgData name="Mattia Volpato" userId="d4750074-1d82-4b06-bea9-f9f846aceec4" providerId="ADAL" clId="{598E0B15-66F7-4D4D-9F75-C859811114CD}" dt="2025-09-17T13:48:31.343" v="5591" actId="207"/>
          <ac:spMkLst>
            <pc:docMk/>
            <pc:sldMk cId="943570920" sldId="344"/>
            <ac:spMk id="16" creationId="{32E01815-593B-207E-734C-E6F3E74BB845}"/>
          </ac:spMkLst>
        </pc:spChg>
      </pc:sldChg>
      <pc:sldChg chg="modSp mod">
        <pc:chgData name="Mattia Volpato" userId="d4750074-1d82-4b06-bea9-f9f846aceec4" providerId="ADAL" clId="{598E0B15-66F7-4D4D-9F75-C859811114CD}" dt="2025-09-18T14:45:47.648" v="7146" actId="113"/>
        <pc:sldMkLst>
          <pc:docMk/>
          <pc:sldMk cId="686547249" sldId="345"/>
        </pc:sldMkLst>
        <pc:spChg chg="mod">
          <ac:chgData name="Mattia Volpato" userId="d4750074-1d82-4b06-bea9-f9f846aceec4" providerId="ADAL" clId="{598E0B15-66F7-4D4D-9F75-C859811114CD}" dt="2025-09-17T08:32:43.515" v="2089" actId="20577"/>
          <ac:spMkLst>
            <pc:docMk/>
            <pc:sldMk cId="686547249" sldId="345"/>
            <ac:spMk id="3" creationId="{0C54B159-F123-E23D-4F4F-F5D2668BB0B5}"/>
          </ac:spMkLst>
        </pc:spChg>
        <pc:spChg chg="mod">
          <ac:chgData name="Mattia Volpato" userId="d4750074-1d82-4b06-bea9-f9f846aceec4" providerId="ADAL" clId="{598E0B15-66F7-4D4D-9F75-C859811114CD}" dt="2025-09-18T14:45:47.648" v="7146" actId="113"/>
          <ac:spMkLst>
            <pc:docMk/>
            <pc:sldMk cId="686547249" sldId="345"/>
            <ac:spMk id="6" creationId="{9DFB7A4B-1D49-B2F9-52F0-D8C741D3DD4F}"/>
          </ac:spMkLst>
        </pc:spChg>
        <pc:spChg chg="mod">
          <ac:chgData name="Mattia Volpato" userId="d4750074-1d82-4b06-bea9-f9f846aceec4" providerId="ADAL" clId="{598E0B15-66F7-4D4D-9F75-C859811114CD}" dt="2025-09-17T13:48:36.384" v="5592" actId="207"/>
          <ac:spMkLst>
            <pc:docMk/>
            <pc:sldMk cId="686547249" sldId="345"/>
            <ac:spMk id="16" creationId="{F3887584-7C25-1440-99CE-4351BDCBDC25}"/>
          </ac:spMkLst>
        </pc:spChg>
      </pc:sldChg>
      <pc:sldChg chg="modSp mod">
        <pc:chgData name="Mattia Volpato" userId="d4750074-1d82-4b06-bea9-f9f846aceec4" providerId="ADAL" clId="{598E0B15-66F7-4D4D-9F75-C859811114CD}" dt="2025-09-18T20:10:36.437" v="10978" actId="20577"/>
        <pc:sldMkLst>
          <pc:docMk/>
          <pc:sldMk cId="757770832" sldId="346"/>
        </pc:sldMkLst>
        <pc:spChg chg="mod">
          <ac:chgData name="Mattia Volpato" userId="d4750074-1d82-4b06-bea9-f9f846aceec4" providerId="ADAL" clId="{598E0B15-66F7-4D4D-9F75-C859811114CD}" dt="2025-09-18T18:10:54.599" v="8649" actId="20577"/>
          <ac:spMkLst>
            <pc:docMk/>
            <pc:sldMk cId="757770832" sldId="346"/>
            <ac:spMk id="3" creationId="{5B300089-B254-D1C6-A8DB-9F5ACF1A2CC7}"/>
          </ac:spMkLst>
        </pc:spChg>
        <pc:spChg chg="mod">
          <ac:chgData name="Mattia Volpato" userId="d4750074-1d82-4b06-bea9-f9f846aceec4" providerId="ADAL" clId="{598E0B15-66F7-4D4D-9F75-C859811114CD}" dt="2025-09-18T20:10:36.437" v="10978" actId="20577"/>
          <ac:spMkLst>
            <pc:docMk/>
            <pc:sldMk cId="757770832" sldId="346"/>
            <ac:spMk id="6" creationId="{3ED8BB6C-BE9B-E0A4-473D-B2F18E521DEA}"/>
          </ac:spMkLst>
        </pc:spChg>
        <pc:spChg chg="mod">
          <ac:chgData name="Mattia Volpato" userId="d4750074-1d82-4b06-bea9-f9f846aceec4" providerId="ADAL" clId="{598E0B15-66F7-4D4D-9F75-C859811114CD}" dt="2025-09-17T13:48:40.152" v="5593" actId="207"/>
          <ac:spMkLst>
            <pc:docMk/>
            <pc:sldMk cId="757770832" sldId="346"/>
            <ac:spMk id="16" creationId="{B5B5CB8D-37E4-AFA2-1820-14F3F8DA6ECF}"/>
          </ac:spMkLst>
        </pc:spChg>
      </pc:sldChg>
      <pc:sldChg chg="modSp mod">
        <pc:chgData name="Mattia Volpato" userId="d4750074-1d82-4b06-bea9-f9f846aceec4" providerId="ADAL" clId="{598E0B15-66F7-4D4D-9F75-C859811114CD}" dt="2025-09-18T20:11:28.099" v="10981" actId="113"/>
        <pc:sldMkLst>
          <pc:docMk/>
          <pc:sldMk cId="931499201" sldId="347"/>
        </pc:sldMkLst>
        <pc:spChg chg="mod">
          <ac:chgData name="Mattia Volpato" userId="d4750074-1d82-4b06-bea9-f9f846aceec4" providerId="ADAL" clId="{598E0B15-66F7-4D4D-9F75-C859811114CD}" dt="2025-09-18T18:11:01.294" v="8655" actId="20577"/>
          <ac:spMkLst>
            <pc:docMk/>
            <pc:sldMk cId="931499201" sldId="347"/>
            <ac:spMk id="3" creationId="{B1A02F24-03AC-5414-3C41-450B7AF74D6F}"/>
          </ac:spMkLst>
        </pc:spChg>
        <pc:spChg chg="mod">
          <ac:chgData name="Mattia Volpato" userId="d4750074-1d82-4b06-bea9-f9f846aceec4" providerId="ADAL" clId="{598E0B15-66F7-4D4D-9F75-C859811114CD}" dt="2025-09-18T20:11:28.099" v="10981" actId="113"/>
          <ac:spMkLst>
            <pc:docMk/>
            <pc:sldMk cId="931499201" sldId="347"/>
            <ac:spMk id="6" creationId="{078BB124-5CFE-4DC8-7C4A-A790AB5BEB52}"/>
          </ac:spMkLst>
        </pc:spChg>
        <pc:spChg chg="mod">
          <ac:chgData name="Mattia Volpato" userId="d4750074-1d82-4b06-bea9-f9f846aceec4" providerId="ADAL" clId="{598E0B15-66F7-4D4D-9F75-C859811114CD}" dt="2025-09-17T13:48:47.128" v="5594" actId="207"/>
          <ac:spMkLst>
            <pc:docMk/>
            <pc:sldMk cId="931499201" sldId="347"/>
            <ac:spMk id="16" creationId="{DFACC9B2-A3D9-B509-EF69-C5D0E2761BDF}"/>
          </ac:spMkLst>
        </pc:spChg>
      </pc:sldChg>
      <pc:sldChg chg="modSp mod">
        <pc:chgData name="Mattia Volpato" userId="d4750074-1d82-4b06-bea9-f9f846aceec4" providerId="ADAL" clId="{598E0B15-66F7-4D4D-9F75-C859811114CD}" dt="2025-09-18T18:34:53.067" v="9218" actId="1076"/>
        <pc:sldMkLst>
          <pc:docMk/>
          <pc:sldMk cId="1435670733" sldId="348"/>
        </pc:sldMkLst>
        <pc:spChg chg="mod">
          <ac:chgData name="Mattia Volpato" userId="d4750074-1d82-4b06-bea9-f9f846aceec4" providerId="ADAL" clId="{598E0B15-66F7-4D4D-9F75-C859811114CD}" dt="2025-09-17T13:48:18.494" v="5590" actId="207"/>
          <ac:spMkLst>
            <pc:docMk/>
            <pc:sldMk cId="1435670733" sldId="348"/>
            <ac:spMk id="16" creationId="{086C34C7-B53B-C6A3-398D-77B115ED7E32}"/>
          </ac:spMkLst>
        </pc:spChg>
        <pc:spChg chg="mod">
          <ac:chgData name="Mattia Volpato" userId="d4750074-1d82-4b06-bea9-f9f846aceec4" providerId="ADAL" clId="{598E0B15-66F7-4D4D-9F75-C859811114CD}" dt="2025-09-18T13:38:02.372" v="5611" actId="1076"/>
          <ac:spMkLst>
            <pc:docMk/>
            <pc:sldMk cId="1435670733" sldId="348"/>
            <ac:spMk id="18" creationId="{661A168F-2573-A9DF-9D09-21833ACCD594}"/>
          </ac:spMkLst>
        </pc:spChg>
        <pc:graphicFrameChg chg="mod">
          <ac:chgData name="Mattia Volpato" userId="d4750074-1d82-4b06-bea9-f9f846aceec4" providerId="ADAL" clId="{598E0B15-66F7-4D4D-9F75-C859811114CD}" dt="2025-09-18T18:34:53.067" v="9218" actId="1076"/>
          <ac:graphicFrameMkLst>
            <pc:docMk/>
            <pc:sldMk cId="1435670733" sldId="348"/>
            <ac:graphicFrameMk id="4" creationId="{E85360A1-CC52-9DBA-484F-4F1FE0FF9F7E}"/>
          </ac:graphicFrameMkLst>
        </pc:graphicFrameChg>
      </pc:sldChg>
      <pc:sldChg chg="add del">
        <pc:chgData name="Mattia Volpato" userId="d4750074-1d82-4b06-bea9-f9f846aceec4" providerId="ADAL" clId="{598E0B15-66F7-4D4D-9F75-C859811114CD}" dt="2025-09-17T07:03:54.970" v="1" actId="2696"/>
        <pc:sldMkLst>
          <pc:docMk/>
          <pc:sldMk cId="422093976" sldId="349"/>
        </pc:sldMkLst>
      </pc:sldChg>
      <pc:sldChg chg="addSp delSp modSp add mod">
        <pc:chgData name="Mattia Volpato" userId="d4750074-1d82-4b06-bea9-f9f846aceec4" providerId="ADAL" clId="{598E0B15-66F7-4D4D-9F75-C859811114CD}" dt="2025-09-18T20:07:19.758" v="10955" actId="14100"/>
        <pc:sldMkLst>
          <pc:docMk/>
          <pc:sldMk cId="3523351693" sldId="349"/>
        </pc:sldMkLst>
        <pc:spChg chg="del">
          <ac:chgData name="Mattia Volpato" userId="d4750074-1d82-4b06-bea9-f9f846aceec4" providerId="ADAL" clId="{598E0B15-66F7-4D4D-9F75-C859811114CD}" dt="2025-09-18T18:37:34.729" v="9228" actId="478"/>
          <ac:spMkLst>
            <pc:docMk/>
            <pc:sldMk cId="3523351693" sldId="349"/>
            <ac:spMk id="2" creationId="{EB9E416B-F2C9-A4A1-9E56-9593F28F9492}"/>
          </ac:spMkLst>
        </pc:spChg>
        <pc:spChg chg="mod">
          <ac:chgData name="Mattia Volpato" userId="d4750074-1d82-4b06-bea9-f9f846aceec4" providerId="ADAL" clId="{598E0B15-66F7-4D4D-9F75-C859811114CD}" dt="2025-09-18T19:58:21.417" v="10690" actId="20577"/>
          <ac:spMkLst>
            <pc:docMk/>
            <pc:sldMk cId="3523351693" sldId="349"/>
            <ac:spMk id="3" creationId="{5BD0F1DF-E93D-955B-8518-614EC3471483}"/>
          </ac:spMkLst>
        </pc:spChg>
        <pc:spChg chg="del mod">
          <ac:chgData name="Mattia Volpato" userId="d4750074-1d82-4b06-bea9-f9f846aceec4" providerId="ADAL" clId="{598E0B15-66F7-4D4D-9F75-C859811114CD}" dt="2025-09-18T18:37:37.696" v="9231" actId="478"/>
          <ac:spMkLst>
            <pc:docMk/>
            <pc:sldMk cId="3523351693" sldId="349"/>
            <ac:spMk id="4" creationId="{2F26523D-D9D9-E40A-435D-2201B07B38B8}"/>
          </ac:spMkLst>
        </pc:spChg>
        <pc:spChg chg="mod">
          <ac:chgData name="Mattia Volpato" userId="d4750074-1d82-4b06-bea9-f9f846aceec4" providerId="ADAL" clId="{598E0B15-66F7-4D4D-9F75-C859811114CD}" dt="2025-09-17T07:04:02.927" v="10" actId="20577"/>
          <ac:spMkLst>
            <pc:docMk/>
            <pc:sldMk cId="3523351693" sldId="349"/>
            <ac:spMk id="6" creationId="{3AE55670-9940-3007-4679-B68BD4461411}"/>
          </ac:spMkLst>
        </pc:spChg>
        <pc:spChg chg="add del mod">
          <ac:chgData name="Mattia Volpato" userId="d4750074-1d82-4b06-bea9-f9f846aceec4" providerId="ADAL" clId="{598E0B15-66F7-4D4D-9F75-C859811114CD}" dt="2025-09-18T18:51:12.721" v="9737"/>
          <ac:spMkLst>
            <pc:docMk/>
            <pc:sldMk cId="3523351693" sldId="349"/>
            <ac:spMk id="9" creationId="{2A27320F-389F-9F39-B127-8239FCAFF839}"/>
          </ac:spMkLst>
        </pc:spChg>
        <pc:spChg chg="add del mod">
          <ac:chgData name="Mattia Volpato" userId="d4750074-1d82-4b06-bea9-f9f846aceec4" providerId="ADAL" clId="{598E0B15-66F7-4D4D-9F75-C859811114CD}" dt="2025-09-18T18:51:12.722" v="9739"/>
          <ac:spMkLst>
            <pc:docMk/>
            <pc:sldMk cId="3523351693" sldId="349"/>
            <ac:spMk id="10" creationId="{DA7BEF2A-208E-7CDE-277A-CB855F81A710}"/>
          </ac:spMkLst>
        </pc:spChg>
        <pc:spChg chg="add del mod">
          <ac:chgData name="Mattia Volpato" userId="d4750074-1d82-4b06-bea9-f9f846aceec4" providerId="ADAL" clId="{598E0B15-66F7-4D4D-9F75-C859811114CD}" dt="2025-09-18T18:49:30.476" v="9711" actId="478"/>
          <ac:spMkLst>
            <pc:docMk/>
            <pc:sldMk cId="3523351693" sldId="349"/>
            <ac:spMk id="11" creationId="{C240C0BF-CC63-4222-E0E2-AA47245DFA40}"/>
          </ac:spMkLst>
        </pc:spChg>
        <pc:spChg chg="add del mod">
          <ac:chgData name="Mattia Volpato" userId="d4750074-1d82-4b06-bea9-f9f846aceec4" providerId="ADAL" clId="{598E0B15-66F7-4D4D-9F75-C859811114CD}" dt="2025-09-18T18:51:21.910" v="9741" actId="478"/>
          <ac:spMkLst>
            <pc:docMk/>
            <pc:sldMk cId="3523351693" sldId="349"/>
            <ac:spMk id="12" creationId="{91D76071-B1C6-BF5E-0F1A-84F96E5950ED}"/>
          </ac:spMkLst>
        </pc:spChg>
        <pc:spChg chg="add del mod">
          <ac:chgData name="Mattia Volpato" userId="d4750074-1d82-4b06-bea9-f9f846aceec4" providerId="ADAL" clId="{598E0B15-66F7-4D4D-9F75-C859811114CD}" dt="2025-09-18T19:02:56.429" v="9891" actId="478"/>
          <ac:spMkLst>
            <pc:docMk/>
            <pc:sldMk cId="3523351693" sldId="349"/>
            <ac:spMk id="13" creationId="{5494106F-D468-42D4-72B0-B41CCF8B2A1B}"/>
          </ac:spMkLst>
        </pc:spChg>
        <pc:spChg chg="add del mod">
          <ac:chgData name="Mattia Volpato" userId="d4750074-1d82-4b06-bea9-f9f846aceec4" providerId="ADAL" clId="{598E0B15-66F7-4D4D-9F75-C859811114CD}" dt="2025-09-18T18:52:32.812" v="9758" actId="478"/>
          <ac:spMkLst>
            <pc:docMk/>
            <pc:sldMk cId="3523351693" sldId="349"/>
            <ac:spMk id="14" creationId="{55EABB38-FC84-1F7D-5FF0-E82261D73A68}"/>
          </ac:spMkLst>
        </pc:spChg>
        <pc:spChg chg="add del mod">
          <ac:chgData name="Mattia Volpato" userId="d4750074-1d82-4b06-bea9-f9f846aceec4" providerId="ADAL" clId="{598E0B15-66F7-4D4D-9F75-C859811114CD}" dt="2025-09-18T18:52:47.302" v="9768" actId="478"/>
          <ac:spMkLst>
            <pc:docMk/>
            <pc:sldMk cId="3523351693" sldId="349"/>
            <ac:spMk id="15" creationId="{B13941C1-0D80-6E62-E7FE-3B55D6475A16}"/>
          </ac:spMkLst>
        </pc:spChg>
        <pc:spChg chg="add del mod">
          <ac:chgData name="Mattia Volpato" userId="d4750074-1d82-4b06-bea9-f9f846aceec4" providerId="ADAL" clId="{598E0B15-66F7-4D4D-9F75-C859811114CD}" dt="2025-09-18T18:51:12.720" v="9735" actId="478"/>
          <ac:spMkLst>
            <pc:docMk/>
            <pc:sldMk cId="3523351693" sldId="349"/>
            <ac:spMk id="16" creationId="{F451FCDB-BB62-2EC3-4AE7-FC54B3ABF5BD}"/>
          </ac:spMkLst>
        </pc:spChg>
        <pc:spChg chg="add del mod">
          <ac:chgData name="Mattia Volpato" userId="d4750074-1d82-4b06-bea9-f9f846aceec4" providerId="ADAL" clId="{598E0B15-66F7-4D4D-9F75-C859811114CD}" dt="2025-09-18T19:02:26.578" v="9875" actId="478"/>
          <ac:spMkLst>
            <pc:docMk/>
            <pc:sldMk cId="3523351693" sldId="349"/>
            <ac:spMk id="17" creationId="{FEFEE4F1-7D24-90BA-A199-69DF34008A86}"/>
          </ac:spMkLst>
        </pc:spChg>
        <pc:spChg chg="add del mod">
          <ac:chgData name="Mattia Volpato" userId="d4750074-1d82-4b06-bea9-f9f846aceec4" providerId="ADAL" clId="{598E0B15-66F7-4D4D-9F75-C859811114CD}" dt="2025-09-18T19:02:27.280" v="9876" actId="478"/>
          <ac:spMkLst>
            <pc:docMk/>
            <pc:sldMk cId="3523351693" sldId="349"/>
            <ac:spMk id="18" creationId="{A9E1F34C-92B8-C32B-6FED-301DCF67FDB3}"/>
          </ac:spMkLst>
        </pc:spChg>
        <pc:spChg chg="del">
          <ac:chgData name="Mattia Volpato" userId="d4750074-1d82-4b06-bea9-f9f846aceec4" providerId="ADAL" clId="{598E0B15-66F7-4D4D-9F75-C859811114CD}" dt="2025-09-18T18:37:36.176" v="9229" actId="478"/>
          <ac:spMkLst>
            <pc:docMk/>
            <pc:sldMk cId="3523351693" sldId="349"/>
            <ac:spMk id="19" creationId="{E390DBB0-284A-6952-B03F-6F222FBFDD26}"/>
          </ac:spMkLst>
        </pc:spChg>
        <pc:spChg chg="add del mod">
          <ac:chgData name="Mattia Volpato" userId="d4750074-1d82-4b06-bea9-f9f846aceec4" providerId="ADAL" clId="{598E0B15-66F7-4D4D-9F75-C859811114CD}" dt="2025-09-18T19:00:13.869" v="9837" actId="478"/>
          <ac:spMkLst>
            <pc:docMk/>
            <pc:sldMk cId="3523351693" sldId="349"/>
            <ac:spMk id="20" creationId="{3FF1935D-4F9F-0DC4-6A7B-8AA476BBE5ED}"/>
          </ac:spMkLst>
        </pc:spChg>
        <pc:spChg chg="del">
          <ac:chgData name="Mattia Volpato" userId="d4750074-1d82-4b06-bea9-f9f846aceec4" providerId="ADAL" clId="{598E0B15-66F7-4D4D-9F75-C859811114CD}" dt="2025-09-18T18:37:38.747" v="9232" actId="478"/>
          <ac:spMkLst>
            <pc:docMk/>
            <pc:sldMk cId="3523351693" sldId="349"/>
            <ac:spMk id="21" creationId="{038E6F92-AAA3-761B-3ADE-AC84521B1F9D}"/>
          </ac:spMkLst>
        </pc:spChg>
        <pc:spChg chg="add del mod">
          <ac:chgData name="Mattia Volpato" userId="d4750074-1d82-4b06-bea9-f9f846aceec4" providerId="ADAL" clId="{598E0B15-66F7-4D4D-9F75-C859811114CD}" dt="2025-09-18T19:01:24.128" v="9848" actId="478"/>
          <ac:spMkLst>
            <pc:docMk/>
            <pc:sldMk cId="3523351693" sldId="349"/>
            <ac:spMk id="29" creationId="{D1A97FED-58F3-D12D-352E-B1085A27A8EC}"/>
          </ac:spMkLst>
        </pc:spChg>
        <pc:spChg chg="add mod">
          <ac:chgData name="Mattia Volpato" userId="d4750074-1d82-4b06-bea9-f9f846aceec4" providerId="ADAL" clId="{598E0B15-66F7-4D4D-9F75-C859811114CD}" dt="2025-09-18T20:07:19.758" v="10955" actId="14100"/>
          <ac:spMkLst>
            <pc:docMk/>
            <pc:sldMk cId="3523351693" sldId="349"/>
            <ac:spMk id="30" creationId="{78BB14F6-587D-BDFE-F445-27FFC4F456B6}"/>
          </ac:spMkLst>
        </pc:spChg>
        <pc:spChg chg="add mod">
          <ac:chgData name="Mattia Volpato" userId="d4750074-1d82-4b06-bea9-f9f846aceec4" providerId="ADAL" clId="{598E0B15-66F7-4D4D-9F75-C859811114CD}" dt="2025-09-18T19:46:13.095" v="10360" actId="1076"/>
          <ac:spMkLst>
            <pc:docMk/>
            <pc:sldMk cId="3523351693" sldId="349"/>
            <ac:spMk id="31" creationId="{81A706E0-A680-EE68-0779-C2CEA6F7EF9F}"/>
          </ac:spMkLst>
        </pc:spChg>
        <pc:spChg chg="add mod">
          <ac:chgData name="Mattia Volpato" userId="d4750074-1d82-4b06-bea9-f9f846aceec4" providerId="ADAL" clId="{598E0B15-66F7-4D4D-9F75-C859811114CD}" dt="2025-09-18T19:45:48.242" v="10352" actId="14100"/>
          <ac:spMkLst>
            <pc:docMk/>
            <pc:sldMk cId="3523351693" sldId="349"/>
            <ac:spMk id="32" creationId="{4387627C-7727-415F-186A-10E54162F02C}"/>
          </ac:spMkLst>
        </pc:spChg>
        <pc:spChg chg="add del mod">
          <ac:chgData name="Mattia Volpato" userId="d4750074-1d82-4b06-bea9-f9f846aceec4" providerId="ADAL" clId="{598E0B15-66F7-4D4D-9F75-C859811114CD}" dt="2025-09-18T19:02:56.429" v="9893"/>
          <ac:spMkLst>
            <pc:docMk/>
            <pc:sldMk cId="3523351693" sldId="349"/>
            <ac:spMk id="33" creationId="{0282F517-FA8C-3E9C-7FD2-14A1BF042FB3}"/>
          </ac:spMkLst>
        </pc:spChg>
        <pc:spChg chg="add mod">
          <ac:chgData name="Mattia Volpato" userId="d4750074-1d82-4b06-bea9-f9f846aceec4" providerId="ADAL" clId="{598E0B15-66F7-4D4D-9F75-C859811114CD}" dt="2025-09-18T19:48:30.550" v="10420" actId="2711"/>
          <ac:spMkLst>
            <pc:docMk/>
            <pc:sldMk cId="3523351693" sldId="349"/>
            <ac:spMk id="34" creationId="{DD8B54D1-5DEE-110C-8C98-25B429C51F66}"/>
          </ac:spMkLst>
        </pc:spChg>
        <pc:spChg chg="add mod">
          <ac:chgData name="Mattia Volpato" userId="d4750074-1d82-4b06-bea9-f9f846aceec4" providerId="ADAL" clId="{598E0B15-66F7-4D4D-9F75-C859811114CD}" dt="2025-09-18T19:46:01.573" v="10357" actId="1076"/>
          <ac:spMkLst>
            <pc:docMk/>
            <pc:sldMk cId="3523351693" sldId="349"/>
            <ac:spMk id="35" creationId="{0EAD8ABC-5A89-FBD5-8EFB-6EEFDECCB912}"/>
          </ac:spMkLst>
        </pc:spChg>
        <pc:spChg chg="add mod">
          <ac:chgData name="Mattia Volpato" userId="d4750074-1d82-4b06-bea9-f9f846aceec4" providerId="ADAL" clId="{598E0B15-66F7-4D4D-9F75-C859811114CD}" dt="2025-09-18T20:07:09.859" v="10954" actId="113"/>
          <ac:spMkLst>
            <pc:docMk/>
            <pc:sldMk cId="3523351693" sldId="349"/>
            <ac:spMk id="36" creationId="{8FC020BE-EBF6-3DBA-EBB6-D94934C26798}"/>
          </ac:spMkLst>
        </pc:spChg>
        <pc:spChg chg="add del mod">
          <ac:chgData name="Mattia Volpato" userId="d4750074-1d82-4b06-bea9-f9f846aceec4" providerId="ADAL" clId="{598E0B15-66F7-4D4D-9F75-C859811114CD}" dt="2025-09-18T19:11:57.284" v="10195" actId="478"/>
          <ac:spMkLst>
            <pc:docMk/>
            <pc:sldMk cId="3523351693" sldId="349"/>
            <ac:spMk id="37" creationId="{3B51F991-C6D2-3898-38A3-00DFDB7EB3F3}"/>
          </ac:spMkLst>
        </pc:spChg>
        <pc:spChg chg="add del mod">
          <ac:chgData name="Mattia Volpato" userId="d4750074-1d82-4b06-bea9-f9f846aceec4" providerId="ADAL" clId="{598E0B15-66F7-4D4D-9F75-C859811114CD}" dt="2025-09-18T19:12:02.393" v="10197" actId="478"/>
          <ac:spMkLst>
            <pc:docMk/>
            <pc:sldMk cId="3523351693" sldId="349"/>
            <ac:spMk id="38" creationId="{273F9CB8-0C92-8AC5-4E6A-1B690E357255}"/>
          </ac:spMkLst>
        </pc:spChg>
        <pc:picChg chg="del">
          <ac:chgData name="Mattia Volpato" userId="d4750074-1d82-4b06-bea9-f9f846aceec4" providerId="ADAL" clId="{598E0B15-66F7-4D4D-9F75-C859811114CD}" dt="2025-09-18T18:37:39.832" v="9234" actId="478"/>
          <ac:picMkLst>
            <pc:docMk/>
            <pc:sldMk cId="3523351693" sldId="349"/>
            <ac:picMk id="5" creationId="{08842CA7-27F6-A609-E379-F8E4D2C17507}"/>
          </ac:picMkLst>
        </pc:picChg>
        <pc:picChg chg="del">
          <ac:chgData name="Mattia Volpato" userId="d4750074-1d82-4b06-bea9-f9f846aceec4" providerId="ADAL" clId="{598E0B15-66F7-4D4D-9F75-C859811114CD}" dt="2025-09-18T18:37:39.339" v="9233" actId="478"/>
          <ac:picMkLst>
            <pc:docMk/>
            <pc:sldMk cId="3523351693" sldId="349"/>
            <ac:picMk id="7" creationId="{E3314D13-0782-D344-6901-D1958C3FCCA4}"/>
          </ac:picMkLst>
        </pc:picChg>
        <pc:cxnChg chg="add del mod">
          <ac:chgData name="Mattia Volpato" userId="d4750074-1d82-4b06-bea9-f9f846aceec4" providerId="ADAL" clId="{598E0B15-66F7-4D4D-9F75-C859811114CD}" dt="2025-09-18T19:00:16.640" v="9839" actId="478"/>
          <ac:cxnSpMkLst>
            <pc:docMk/>
            <pc:sldMk cId="3523351693" sldId="349"/>
            <ac:cxnSpMk id="23" creationId="{B69E75FE-F330-E1A8-81D8-DE4BC3F960D4}"/>
          </ac:cxnSpMkLst>
        </pc:cxnChg>
      </pc:sldChg>
      <pc:sldChg chg="addSp delSp modSp add mod">
        <pc:chgData name="Mattia Volpato" userId="d4750074-1d82-4b06-bea9-f9f846aceec4" providerId="ADAL" clId="{598E0B15-66F7-4D4D-9F75-C859811114CD}" dt="2025-09-17T09:28:04.303" v="4086" actId="20577"/>
        <pc:sldMkLst>
          <pc:docMk/>
          <pc:sldMk cId="3611570287" sldId="350"/>
        </pc:sldMkLst>
        <pc:spChg chg="del">
          <ac:chgData name="Mattia Volpato" userId="d4750074-1d82-4b06-bea9-f9f846aceec4" providerId="ADAL" clId="{598E0B15-66F7-4D4D-9F75-C859811114CD}" dt="2025-09-17T07:04:37.702" v="33" actId="478"/>
          <ac:spMkLst>
            <pc:docMk/>
            <pc:sldMk cId="3611570287" sldId="350"/>
            <ac:spMk id="6" creationId="{ACB25874-0DD7-96DD-38C7-AF6940886A09}"/>
          </ac:spMkLst>
        </pc:spChg>
        <pc:spChg chg="del">
          <ac:chgData name="Mattia Volpato" userId="d4750074-1d82-4b06-bea9-f9f846aceec4" providerId="ADAL" clId="{598E0B15-66F7-4D4D-9F75-C859811114CD}" dt="2025-09-17T07:04:40.243" v="35" actId="478"/>
          <ac:spMkLst>
            <pc:docMk/>
            <pc:sldMk cId="3611570287" sldId="350"/>
            <ac:spMk id="7" creationId="{D5BBF1CD-1F41-375C-9B49-B164E29A1615}"/>
          </ac:spMkLst>
        </pc:spChg>
        <pc:spChg chg="del mod">
          <ac:chgData name="Mattia Volpato" userId="d4750074-1d82-4b06-bea9-f9f846aceec4" providerId="ADAL" clId="{598E0B15-66F7-4D4D-9F75-C859811114CD}" dt="2025-09-17T07:04:45.504" v="39" actId="478"/>
          <ac:spMkLst>
            <pc:docMk/>
            <pc:sldMk cId="3611570287" sldId="350"/>
            <ac:spMk id="8" creationId="{7C356079-00F3-9C05-047E-686531B74A03}"/>
          </ac:spMkLst>
        </pc:spChg>
        <pc:spChg chg="del mod">
          <ac:chgData name="Mattia Volpato" userId="d4750074-1d82-4b06-bea9-f9f846aceec4" providerId="ADAL" clId="{598E0B15-66F7-4D4D-9F75-C859811114CD}" dt="2025-09-17T07:04:34.590" v="30" actId="478"/>
          <ac:spMkLst>
            <pc:docMk/>
            <pc:sldMk cId="3611570287" sldId="350"/>
            <ac:spMk id="16" creationId="{91795C17-D9F9-1BB7-7572-704FAB0B4CB4}"/>
          </ac:spMkLst>
        </pc:spChg>
        <pc:spChg chg="del">
          <ac:chgData name="Mattia Volpato" userId="d4750074-1d82-4b06-bea9-f9f846aceec4" providerId="ADAL" clId="{598E0B15-66F7-4D4D-9F75-C859811114CD}" dt="2025-09-17T07:04:41.904" v="36" actId="478"/>
          <ac:spMkLst>
            <pc:docMk/>
            <pc:sldMk cId="3611570287" sldId="350"/>
            <ac:spMk id="17" creationId="{07FF22C4-ECC2-562F-71D9-67508B58AD7E}"/>
          </ac:spMkLst>
        </pc:spChg>
        <pc:spChg chg="del mod">
          <ac:chgData name="Mattia Volpato" userId="d4750074-1d82-4b06-bea9-f9f846aceec4" providerId="ADAL" clId="{598E0B15-66F7-4D4D-9F75-C859811114CD}" dt="2025-09-17T07:04:38.497" v="34" actId="478"/>
          <ac:spMkLst>
            <pc:docMk/>
            <pc:sldMk cId="3611570287" sldId="350"/>
            <ac:spMk id="18" creationId="{BFB64D1E-1833-2070-7AE8-8E7E3D28AE05}"/>
          </ac:spMkLst>
        </pc:spChg>
        <pc:spChg chg="del">
          <ac:chgData name="Mattia Volpato" userId="d4750074-1d82-4b06-bea9-f9f846aceec4" providerId="ADAL" clId="{598E0B15-66F7-4D4D-9F75-C859811114CD}" dt="2025-09-17T07:04:42.837" v="37" actId="478"/>
          <ac:spMkLst>
            <pc:docMk/>
            <pc:sldMk cId="3611570287" sldId="350"/>
            <ac:spMk id="19" creationId="{1B6E3438-8733-2BB7-7688-A540E8059BD2}"/>
          </ac:spMkLst>
        </pc:spChg>
        <pc:spChg chg="del mod">
          <ac:chgData name="Mattia Volpato" userId="d4750074-1d82-4b06-bea9-f9f846aceec4" providerId="ADAL" clId="{598E0B15-66F7-4D4D-9F75-C859811114CD}" dt="2025-09-17T07:04:35.515" v="31" actId="478"/>
          <ac:spMkLst>
            <pc:docMk/>
            <pc:sldMk cId="3611570287" sldId="350"/>
            <ac:spMk id="20" creationId="{921EC288-39DB-2C52-0A73-EC4E66E7A110}"/>
          </ac:spMkLst>
        </pc:spChg>
        <pc:spChg chg="add mod">
          <ac:chgData name="Mattia Volpato" userId="d4750074-1d82-4b06-bea9-f9f846aceec4" providerId="ADAL" clId="{598E0B15-66F7-4D4D-9F75-C859811114CD}" dt="2025-09-17T07:37:51.090" v="709" actId="20577"/>
          <ac:spMkLst>
            <pc:docMk/>
            <pc:sldMk cId="3611570287" sldId="350"/>
            <ac:spMk id="21" creationId="{CCD174DB-393D-0CAB-D2D9-5FA39F17DDEA}"/>
          </ac:spMkLst>
        </pc:spChg>
        <pc:spChg chg="add del mod">
          <ac:chgData name="Mattia Volpato" userId="d4750074-1d82-4b06-bea9-f9f846aceec4" providerId="ADAL" clId="{598E0B15-66F7-4D4D-9F75-C859811114CD}" dt="2025-09-17T07:07:32.257" v="56"/>
          <ac:spMkLst>
            <pc:docMk/>
            <pc:sldMk cId="3611570287" sldId="350"/>
            <ac:spMk id="22" creationId="{0B8B241B-AFA9-6FA2-89F3-280624D3F778}"/>
          </ac:spMkLst>
        </pc:spChg>
        <pc:spChg chg="add mod">
          <ac:chgData name="Mattia Volpato" userId="d4750074-1d82-4b06-bea9-f9f846aceec4" providerId="ADAL" clId="{598E0B15-66F7-4D4D-9F75-C859811114CD}" dt="2025-09-17T09:28:04.303" v="4086" actId="20577"/>
          <ac:spMkLst>
            <pc:docMk/>
            <pc:sldMk cId="3611570287" sldId="350"/>
            <ac:spMk id="23" creationId="{A3A15FBD-3B5F-85FA-B84E-8076BB59BA18}"/>
          </ac:spMkLst>
        </pc:spChg>
        <pc:spChg chg="add mod">
          <ac:chgData name="Mattia Volpato" userId="d4750074-1d82-4b06-bea9-f9f846aceec4" providerId="ADAL" clId="{598E0B15-66F7-4D4D-9F75-C859811114CD}" dt="2025-09-17T07:37:47.275" v="708" actId="20577"/>
          <ac:spMkLst>
            <pc:docMk/>
            <pc:sldMk cId="3611570287" sldId="350"/>
            <ac:spMk id="24" creationId="{0197F563-814B-4287-F2C2-79F80B996FC7}"/>
          </ac:spMkLst>
        </pc:spChg>
        <pc:spChg chg="add mod">
          <ac:chgData name="Mattia Volpato" userId="d4750074-1d82-4b06-bea9-f9f846aceec4" providerId="ADAL" clId="{598E0B15-66F7-4D4D-9F75-C859811114CD}" dt="2025-09-17T09:27:50.421" v="4082" actId="20577"/>
          <ac:spMkLst>
            <pc:docMk/>
            <pc:sldMk cId="3611570287" sldId="350"/>
            <ac:spMk id="25" creationId="{A5712105-A1DE-0103-DDAE-C543D1034B08}"/>
          </ac:spMkLst>
        </pc:spChg>
        <pc:spChg chg="add del mod">
          <ac:chgData name="Mattia Volpato" userId="d4750074-1d82-4b06-bea9-f9f846aceec4" providerId="ADAL" clId="{598E0B15-66F7-4D4D-9F75-C859811114CD}" dt="2025-09-17T07:24:18.076" v="145" actId="478"/>
          <ac:spMkLst>
            <pc:docMk/>
            <pc:sldMk cId="3611570287" sldId="350"/>
            <ac:spMk id="26" creationId="{02DD3155-51EA-0307-BF7A-33FAF86FDD82}"/>
          </ac:spMkLst>
        </pc:spChg>
        <pc:spChg chg="add del mod">
          <ac:chgData name="Mattia Volpato" userId="d4750074-1d82-4b06-bea9-f9f846aceec4" providerId="ADAL" clId="{598E0B15-66F7-4D4D-9F75-C859811114CD}" dt="2025-09-17T07:24:19.668" v="147" actId="478"/>
          <ac:spMkLst>
            <pc:docMk/>
            <pc:sldMk cId="3611570287" sldId="350"/>
            <ac:spMk id="27" creationId="{109D721A-A205-215B-CF93-BFF8A23C114F}"/>
          </ac:spMkLst>
        </pc:spChg>
        <pc:spChg chg="add">
          <ac:chgData name="Mattia Volpato" userId="d4750074-1d82-4b06-bea9-f9f846aceec4" providerId="ADAL" clId="{598E0B15-66F7-4D4D-9F75-C859811114CD}" dt="2025-09-17T07:31:57.271" v="501"/>
          <ac:spMkLst>
            <pc:docMk/>
            <pc:sldMk cId="3611570287" sldId="350"/>
            <ac:spMk id="28" creationId="{EB13F108-EA36-EE0F-61A2-30A5C9C78E46}"/>
          </ac:spMkLst>
        </pc:spChg>
        <pc:spChg chg="add">
          <ac:chgData name="Mattia Volpato" userId="d4750074-1d82-4b06-bea9-f9f846aceec4" providerId="ADAL" clId="{598E0B15-66F7-4D4D-9F75-C859811114CD}" dt="2025-09-17T07:32:00.408" v="502"/>
          <ac:spMkLst>
            <pc:docMk/>
            <pc:sldMk cId="3611570287" sldId="350"/>
            <ac:spMk id="29" creationId="{7826EC6F-263A-A60C-E424-EDFE114AAC1C}"/>
          </ac:spMkLst>
        </pc:spChg>
        <pc:spChg chg="add">
          <ac:chgData name="Mattia Volpato" userId="d4750074-1d82-4b06-bea9-f9f846aceec4" providerId="ADAL" clId="{598E0B15-66F7-4D4D-9F75-C859811114CD}" dt="2025-09-17T07:32:04.245" v="503"/>
          <ac:spMkLst>
            <pc:docMk/>
            <pc:sldMk cId="3611570287" sldId="350"/>
            <ac:spMk id="30" creationId="{2EFE4CF5-0704-22B0-1756-FD1555F3C289}"/>
          </ac:spMkLst>
        </pc:spChg>
        <pc:grpChg chg="del">
          <ac:chgData name="Mattia Volpato" userId="d4750074-1d82-4b06-bea9-f9f846aceec4" providerId="ADAL" clId="{598E0B15-66F7-4D4D-9F75-C859811114CD}" dt="2025-09-17T07:04:31.819" v="27" actId="478"/>
          <ac:grpSpMkLst>
            <pc:docMk/>
            <pc:sldMk cId="3611570287" sldId="350"/>
            <ac:grpSpMk id="4" creationId="{D7FB8995-531E-D7A0-85D8-2CD8E0F9F5D5}"/>
          </ac:grpSpMkLst>
        </pc:grpChg>
        <pc:picChg chg="del">
          <ac:chgData name="Mattia Volpato" userId="d4750074-1d82-4b06-bea9-f9f846aceec4" providerId="ADAL" clId="{598E0B15-66F7-4D4D-9F75-C859811114CD}" dt="2025-09-17T07:04:29.590" v="24" actId="478"/>
          <ac:picMkLst>
            <pc:docMk/>
            <pc:sldMk cId="3611570287" sldId="350"/>
            <ac:picMk id="9" creationId="{FCBB3979-DCD2-8BBA-D52B-31A0246DE016}"/>
          </ac:picMkLst>
        </pc:picChg>
        <pc:picChg chg="del">
          <ac:chgData name="Mattia Volpato" userId="d4750074-1d82-4b06-bea9-f9f846aceec4" providerId="ADAL" clId="{598E0B15-66F7-4D4D-9F75-C859811114CD}" dt="2025-09-17T07:04:30.043" v="25" actId="478"/>
          <ac:picMkLst>
            <pc:docMk/>
            <pc:sldMk cId="3611570287" sldId="350"/>
            <ac:picMk id="10" creationId="{8D89B23F-A274-3F85-DDA7-01901523CF62}"/>
          </ac:picMkLst>
        </pc:picChg>
        <pc:picChg chg="del">
          <ac:chgData name="Mattia Volpato" userId="d4750074-1d82-4b06-bea9-f9f846aceec4" providerId="ADAL" clId="{598E0B15-66F7-4D4D-9F75-C859811114CD}" dt="2025-09-17T07:04:30.851" v="26" actId="478"/>
          <ac:picMkLst>
            <pc:docMk/>
            <pc:sldMk cId="3611570287" sldId="350"/>
            <ac:picMk id="14" creationId="{419CFF97-EC1B-8A3F-EF91-63B3848EE315}"/>
          </ac:picMkLst>
        </pc:picChg>
        <pc:picChg chg="add mod modCrop">
          <ac:chgData name="Mattia Volpato" userId="d4750074-1d82-4b06-bea9-f9f846aceec4" providerId="ADAL" clId="{598E0B15-66F7-4D4D-9F75-C859811114CD}" dt="2025-09-17T07:36:11.735" v="671" actId="1076"/>
          <ac:picMkLst>
            <pc:docMk/>
            <pc:sldMk cId="3611570287" sldId="350"/>
            <ac:picMk id="15" creationId="{D18EF981-F4A0-434F-A30A-297F83D6F7D9}"/>
          </ac:picMkLst>
        </pc:picChg>
      </pc:sldChg>
      <pc:sldChg chg="addSp delSp modSp add mod ord">
        <pc:chgData name="Mattia Volpato" userId="d4750074-1d82-4b06-bea9-f9f846aceec4" providerId="ADAL" clId="{598E0B15-66F7-4D4D-9F75-C859811114CD}" dt="2025-09-18T18:18:16.218" v="8806" actId="20577"/>
        <pc:sldMkLst>
          <pc:docMk/>
          <pc:sldMk cId="2008264774" sldId="351"/>
        </pc:sldMkLst>
        <pc:spChg chg="mod">
          <ac:chgData name="Mattia Volpato" userId="d4750074-1d82-4b06-bea9-f9f846aceec4" providerId="ADAL" clId="{598E0B15-66F7-4D4D-9F75-C859811114CD}" dt="2025-09-17T08:30:58.794" v="2058" actId="20577"/>
          <ac:spMkLst>
            <pc:docMk/>
            <pc:sldMk cId="2008264774" sldId="351"/>
            <ac:spMk id="3" creationId="{9EA46A92-7F4A-FF38-33FC-2FE2FCB47494}"/>
          </ac:spMkLst>
        </pc:spChg>
        <pc:spChg chg="del">
          <ac:chgData name="Mattia Volpato" userId="d4750074-1d82-4b06-bea9-f9f846aceec4" providerId="ADAL" clId="{598E0B15-66F7-4D4D-9F75-C859811114CD}" dt="2025-09-17T07:47:02.483" v="953" actId="478"/>
          <ac:spMkLst>
            <pc:docMk/>
            <pc:sldMk cId="2008264774" sldId="351"/>
            <ac:spMk id="5" creationId="{96957886-D505-FE9C-59CE-10E15D0CD108}"/>
          </ac:spMkLst>
        </pc:spChg>
        <pc:spChg chg="del mod">
          <ac:chgData name="Mattia Volpato" userId="d4750074-1d82-4b06-bea9-f9f846aceec4" providerId="ADAL" clId="{598E0B15-66F7-4D4D-9F75-C859811114CD}" dt="2025-09-17T07:46:02.127" v="925" actId="478"/>
          <ac:spMkLst>
            <pc:docMk/>
            <pc:sldMk cId="2008264774" sldId="351"/>
            <ac:spMk id="10" creationId="{ADCF901F-E634-1B06-1E57-78054D8DDF3B}"/>
          </ac:spMkLst>
        </pc:spChg>
        <pc:spChg chg="add mod">
          <ac:chgData name="Mattia Volpato" userId="d4750074-1d82-4b06-bea9-f9f846aceec4" providerId="ADAL" clId="{598E0B15-66F7-4D4D-9F75-C859811114CD}" dt="2025-09-17T13:49:57.707" v="5600" actId="1076"/>
          <ac:spMkLst>
            <pc:docMk/>
            <pc:sldMk cId="2008264774" sldId="351"/>
            <ac:spMk id="11" creationId="{241C91F2-5FA7-7B0B-BE24-18EB2657DEF5}"/>
          </ac:spMkLst>
        </pc:spChg>
        <pc:spChg chg="add del mod">
          <ac:chgData name="Mattia Volpato" userId="d4750074-1d82-4b06-bea9-f9f846aceec4" providerId="ADAL" clId="{598E0B15-66F7-4D4D-9F75-C859811114CD}" dt="2025-09-17T08:30:30.147" v="2050" actId="478"/>
          <ac:spMkLst>
            <pc:docMk/>
            <pc:sldMk cId="2008264774" sldId="351"/>
            <ac:spMk id="12" creationId="{C9F75423-E66A-9E1C-B085-238DFF38F10F}"/>
          </ac:spMkLst>
        </pc:spChg>
        <pc:spChg chg="add del mod">
          <ac:chgData name="Mattia Volpato" userId="d4750074-1d82-4b06-bea9-f9f846aceec4" providerId="ADAL" clId="{598E0B15-66F7-4D4D-9F75-C859811114CD}" dt="2025-09-17T07:50:08.983" v="1016" actId="478"/>
          <ac:spMkLst>
            <pc:docMk/>
            <pc:sldMk cId="2008264774" sldId="351"/>
            <ac:spMk id="13" creationId="{7169EF15-0E77-D12C-E28F-1226A32ACD56}"/>
          </ac:spMkLst>
        </pc:spChg>
        <pc:spChg chg="del">
          <ac:chgData name="Mattia Volpato" userId="d4750074-1d82-4b06-bea9-f9f846aceec4" providerId="ADAL" clId="{598E0B15-66F7-4D4D-9F75-C859811114CD}" dt="2025-09-17T07:47:01.277" v="952" actId="478"/>
          <ac:spMkLst>
            <pc:docMk/>
            <pc:sldMk cId="2008264774" sldId="351"/>
            <ac:spMk id="14" creationId="{C1FF69FD-894E-40B3-E3B6-C2719BA2823C}"/>
          </ac:spMkLst>
        </pc:spChg>
        <pc:spChg chg="add mod">
          <ac:chgData name="Mattia Volpato" userId="d4750074-1d82-4b06-bea9-f9f846aceec4" providerId="ADAL" clId="{598E0B15-66F7-4D4D-9F75-C859811114CD}" dt="2025-09-17T13:49:48.367" v="5598" actId="207"/>
          <ac:spMkLst>
            <pc:docMk/>
            <pc:sldMk cId="2008264774" sldId="351"/>
            <ac:spMk id="15" creationId="{F1D5394F-09DC-B57C-58A0-D6A90F141E14}"/>
          </ac:spMkLst>
        </pc:spChg>
        <pc:spChg chg="add mod">
          <ac:chgData name="Mattia Volpato" userId="d4750074-1d82-4b06-bea9-f9f846aceec4" providerId="ADAL" clId="{598E0B15-66F7-4D4D-9F75-C859811114CD}" dt="2025-09-18T18:18:16.218" v="8806" actId="20577"/>
          <ac:spMkLst>
            <pc:docMk/>
            <pc:sldMk cId="2008264774" sldId="351"/>
            <ac:spMk id="16" creationId="{EAADAD14-3BB7-3AA5-18AD-D07F0550791E}"/>
          </ac:spMkLst>
        </pc:spChg>
        <pc:spChg chg="del">
          <ac:chgData name="Mattia Volpato" userId="d4750074-1d82-4b06-bea9-f9f846aceec4" providerId="ADAL" clId="{598E0B15-66F7-4D4D-9F75-C859811114CD}" dt="2025-09-17T07:46:32.436" v="935" actId="478"/>
          <ac:spMkLst>
            <pc:docMk/>
            <pc:sldMk cId="2008264774" sldId="351"/>
            <ac:spMk id="17" creationId="{918C24EE-6583-A909-5E80-9511BB72C1B1}"/>
          </ac:spMkLst>
        </pc:spChg>
        <pc:spChg chg="del">
          <ac:chgData name="Mattia Volpato" userId="d4750074-1d82-4b06-bea9-f9f846aceec4" providerId="ADAL" clId="{598E0B15-66F7-4D4D-9F75-C859811114CD}" dt="2025-09-17T07:46:42.807" v="939" actId="478"/>
          <ac:spMkLst>
            <pc:docMk/>
            <pc:sldMk cId="2008264774" sldId="351"/>
            <ac:spMk id="19" creationId="{F06ACDBC-90F3-9170-7658-C5A5CA250050}"/>
          </ac:spMkLst>
        </pc:spChg>
        <pc:spChg chg="del">
          <ac:chgData name="Mattia Volpato" userId="d4750074-1d82-4b06-bea9-f9f846aceec4" providerId="ADAL" clId="{598E0B15-66F7-4D4D-9F75-C859811114CD}" dt="2025-09-17T07:46:41.235" v="938" actId="478"/>
          <ac:spMkLst>
            <pc:docMk/>
            <pc:sldMk cId="2008264774" sldId="351"/>
            <ac:spMk id="20" creationId="{FB180E2F-E50A-0162-131E-69ACD97241B9}"/>
          </ac:spMkLst>
        </pc:spChg>
        <pc:spChg chg="add mod">
          <ac:chgData name="Mattia Volpato" userId="d4750074-1d82-4b06-bea9-f9f846aceec4" providerId="ADAL" clId="{598E0B15-66F7-4D4D-9F75-C859811114CD}" dt="2025-09-17T09:10:35.729" v="3365" actId="1076"/>
          <ac:spMkLst>
            <pc:docMk/>
            <pc:sldMk cId="2008264774" sldId="351"/>
            <ac:spMk id="21" creationId="{0621CEC3-E15E-2C9B-D645-812283B3997F}"/>
          </ac:spMkLst>
        </pc:spChg>
        <pc:spChg chg="del">
          <ac:chgData name="Mattia Volpato" userId="d4750074-1d82-4b06-bea9-f9f846aceec4" providerId="ADAL" clId="{598E0B15-66F7-4D4D-9F75-C859811114CD}" dt="2025-09-17T07:46:44.948" v="940" actId="478"/>
          <ac:spMkLst>
            <pc:docMk/>
            <pc:sldMk cId="2008264774" sldId="351"/>
            <ac:spMk id="22" creationId="{65B562EB-BC69-8166-3147-4645CE3F7495}"/>
          </ac:spMkLst>
        </pc:spChg>
        <pc:spChg chg="del">
          <ac:chgData name="Mattia Volpato" userId="d4750074-1d82-4b06-bea9-f9f846aceec4" providerId="ADAL" clId="{598E0B15-66F7-4D4D-9F75-C859811114CD}" dt="2025-09-17T07:46:40.409" v="937" actId="478"/>
          <ac:spMkLst>
            <pc:docMk/>
            <pc:sldMk cId="2008264774" sldId="351"/>
            <ac:spMk id="23" creationId="{E4C9147A-D8DF-4EA5-3EAE-5CF71D335DDF}"/>
          </ac:spMkLst>
        </pc:spChg>
        <pc:spChg chg="add del mod">
          <ac:chgData name="Mattia Volpato" userId="d4750074-1d82-4b06-bea9-f9f846aceec4" providerId="ADAL" clId="{598E0B15-66F7-4D4D-9F75-C859811114CD}" dt="2025-09-17T08:00:44.923" v="1448" actId="478"/>
          <ac:spMkLst>
            <pc:docMk/>
            <pc:sldMk cId="2008264774" sldId="351"/>
            <ac:spMk id="24" creationId="{61E37523-5E8F-45C1-5A61-06791A388A2D}"/>
          </ac:spMkLst>
        </pc:spChg>
        <pc:spChg chg="add del mod">
          <ac:chgData name="Mattia Volpato" userId="d4750074-1d82-4b06-bea9-f9f846aceec4" providerId="ADAL" clId="{598E0B15-66F7-4D4D-9F75-C859811114CD}" dt="2025-09-17T08:00:44.010" v="1447" actId="478"/>
          <ac:spMkLst>
            <pc:docMk/>
            <pc:sldMk cId="2008264774" sldId="351"/>
            <ac:spMk id="25" creationId="{CD637754-185B-B650-AA57-0C7CE13163C8}"/>
          </ac:spMkLst>
        </pc:spChg>
        <pc:spChg chg="add del mod">
          <ac:chgData name="Mattia Volpato" userId="d4750074-1d82-4b06-bea9-f9f846aceec4" providerId="ADAL" clId="{598E0B15-66F7-4D4D-9F75-C859811114CD}" dt="2025-09-17T08:30:38.719" v="2051" actId="478"/>
          <ac:spMkLst>
            <pc:docMk/>
            <pc:sldMk cId="2008264774" sldId="351"/>
            <ac:spMk id="26" creationId="{0FF67742-6532-522D-C5FC-1276FA8691A5}"/>
          </ac:spMkLst>
        </pc:spChg>
        <pc:spChg chg="add mod">
          <ac:chgData name="Mattia Volpato" userId="d4750074-1d82-4b06-bea9-f9f846aceec4" providerId="ADAL" clId="{598E0B15-66F7-4D4D-9F75-C859811114CD}" dt="2025-09-17T08:30:27.232" v="2049" actId="20577"/>
          <ac:spMkLst>
            <pc:docMk/>
            <pc:sldMk cId="2008264774" sldId="351"/>
            <ac:spMk id="27" creationId="{21C81543-9AAE-0BC5-0B93-549CCEC055AC}"/>
          </ac:spMkLst>
        </pc:spChg>
        <pc:grpChg chg="del">
          <ac:chgData name="Mattia Volpato" userId="d4750074-1d82-4b06-bea9-f9f846aceec4" providerId="ADAL" clId="{598E0B15-66F7-4D4D-9F75-C859811114CD}" dt="2025-09-17T07:46:00.232" v="923" actId="478"/>
          <ac:grpSpMkLst>
            <pc:docMk/>
            <pc:sldMk cId="2008264774" sldId="351"/>
            <ac:grpSpMk id="4" creationId="{50D16514-5D08-B58D-F10D-2B101A2ED875}"/>
          </ac:grpSpMkLst>
        </pc:grpChg>
        <pc:picChg chg="del">
          <ac:chgData name="Mattia Volpato" userId="d4750074-1d82-4b06-bea9-f9f846aceec4" providerId="ADAL" clId="{598E0B15-66F7-4D4D-9F75-C859811114CD}" dt="2025-09-17T07:46:36.396" v="936" actId="478"/>
          <ac:picMkLst>
            <pc:docMk/>
            <pc:sldMk cId="2008264774" sldId="351"/>
            <ac:picMk id="18" creationId="{6197CC4C-B950-DA06-7803-9AD08C3903CC}"/>
          </ac:picMkLst>
        </pc:picChg>
      </pc:sldChg>
      <pc:sldChg chg="modSp add mod ord">
        <pc:chgData name="Mattia Volpato" userId="d4750074-1d82-4b06-bea9-f9f846aceec4" providerId="ADAL" clId="{598E0B15-66F7-4D4D-9F75-C859811114CD}" dt="2025-09-17T13:49:36.425" v="5597" actId="207"/>
        <pc:sldMkLst>
          <pc:docMk/>
          <pc:sldMk cId="2339048414" sldId="352"/>
        </pc:sldMkLst>
        <pc:spChg chg="mod">
          <ac:chgData name="Mattia Volpato" userId="d4750074-1d82-4b06-bea9-f9f846aceec4" providerId="ADAL" clId="{598E0B15-66F7-4D4D-9F75-C859811114CD}" dt="2025-09-17T08:31:09.768" v="2064" actId="20577"/>
          <ac:spMkLst>
            <pc:docMk/>
            <pc:sldMk cId="2339048414" sldId="352"/>
            <ac:spMk id="3" creationId="{89BF845C-C243-4DCC-D347-A255C261695C}"/>
          </ac:spMkLst>
        </pc:spChg>
        <pc:spChg chg="mod">
          <ac:chgData name="Mattia Volpato" userId="d4750074-1d82-4b06-bea9-f9f846aceec4" providerId="ADAL" clId="{598E0B15-66F7-4D4D-9F75-C859811114CD}" dt="2025-09-17T13:49:33.174" v="5596" actId="113"/>
          <ac:spMkLst>
            <pc:docMk/>
            <pc:sldMk cId="2339048414" sldId="352"/>
            <ac:spMk id="11" creationId="{48C01E88-88E6-C44B-5E25-BE9D5A9F96E4}"/>
          </ac:spMkLst>
        </pc:spChg>
        <pc:spChg chg="mod">
          <ac:chgData name="Mattia Volpato" userId="d4750074-1d82-4b06-bea9-f9f846aceec4" providerId="ADAL" clId="{598E0B15-66F7-4D4D-9F75-C859811114CD}" dt="2025-09-17T08:54:59.777" v="2849" actId="20577"/>
          <ac:spMkLst>
            <pc:docMk/>
            <pc:sldMk cId="2339048414" sldId="352"/>
            <ac:spMk id="12" creationId="{54946860-9F53-C37D-7C9A-D8B168E5C5F1}"/>
          </ac:spMkLst>
        </pc:spChg>
        <pc:spChg chg="mod">
          <ac:chgData name="Mattia Volpato" userId="d4750074-1d82-4b06-bea9-f9f846aceec4" providerId="ADAL" clId="{598E0B15-66F7-4D4D-9F75-C859811114CD}" dt="2025-09-17T13:49:36.425" v="5597" actId="207"/>
          <ac:spMkLst>
            <pc:docMk/>
            <pc:sldMk cId="2339048414" sldId="352"/>
            <ac:spMk id="15" creationId="{E70C65EF-8FCA-5012-9E39-97A36E16E966}"/>
          </ac:spMkLst>
        </pc:spChg>
        <pc:spChg chg="mod">
          <ac:chgData name="Mattia Volpato" userId="d4750074-1d82-4b06-bea9-f9f846aceec4" providerId="ADAL" clId="{598E0B15-66F7-4D4D-9F75-C859811114CD}" dt="2025-09-17T09:00:15.896" v="3049" actId="1076"/>
          <ac:spMkLst>
            <pc:docMk/>
            <pc:sldMk cId="2339048414" sldId="352"/>
            <ac:spMk id="16" creationId="{4106F524-83CE-198C-89D0-684FBCD952A2}"/>
          </ac:spMkLst>
        </pc:spChg>
        <pc:spChg chg="mod">
          <ac:chgData name="Mattia Volpato" userId="d4750074-1d82-4b06-bea9-f9f846aceec4" providerId="ADAL" clId="{598E0B15-66F7-4D4D-9F75-C859811114CD}" dt="2025-09-17T09:00:09.351" v="3047" actId="1076"/>
          <ac:spMkLst>
            <pc:docMk/>
            <pc:sldMk cId="2339048414" sldId="352"/>
            <ac:spMk id="21" creationId="{5C5F3FDF-63D2-681E-5DC2-F97E6B33E1A2}"/>
          </ac:spMkLst>
        </pc:spChg>
        <pc:spChg chg="mod">
          <ac:chgData name="Mattia Volpato" userId="d4750074-1d82-4b06-bea9-f9f846aceec4" providerId="ADAL" clId="{598E0B15-66F7-4D4D-9F75-C859811114CD}" dt="2025-09-17T09:06:50.079" v="3298" actId="20577"/>
          <ac:spMkLst>
            <pc:docMk/>
            <pc:sldMk cId="2339048414" sldId="352"/>
            <ac:spMk id="24" creationId="{E65FC23B-C239-0AA1-1C5A-FA07501FC09F}"/>
          </ac:spMkLst>
        </pc:spChg>
        <pc:spChg chg="mod">
          <ac:chgData name="Mattia Volpato" userId="d4750074-1d82-4b06-bea9-f9f846aceec4" providerId="ADAL" clId="{598E0B15-66F7-4D4D-9F75-C859811114CD}" dt="2025-09-17T09:00:28.551" v="3050" actId="1076"/>
          <ac:spMkLst>
            <pc:docMk/>
            <pc:sldMk cId="2339048414" sldId="352"/>
            <ac:spMk id="25" creationId="{75D55477-0E75-FB03-94B0-41D8BF6E80B1}"/>
          </ac:spMkLst>
        </pc:spChg>
      </pc:sldChg>
      <pc:sldChg chg="addSp delSp modSp add mod ord">
        <pc:chgData name="Mattia Volpato" userId="d4750074-1d82-4b06-bea9-f9f846aceec4" providerId="ADAL" clId="{598E0B15-66F7-4D4D-9F75-C859811114CD}" dt="2025-09-18T20:13:14.484" v="10991" actId="113"/>
        <pc:sldMkLst>
          <pc:docMk/>
          <pc:sldMk cId="2704341272" sldId="353"/>
        </pc:sldMkLst>
        <pc:spChg chg="mod">
          <ac:chgData name="Mattia Volpato" userId="d4750074-1d82-4b06-bea9-f9f846aceec4" providerId="ADAL" clId="{598E0B15-66F7-4D4D-9F75-C859811114CD}" dt="2025-09-17T08:01:39.620" v="1483" actId="20577"/>
          <ac:spMkLst>
            <pc:docMk/>
            <pc:sldMk cId="2704341272" sldId="353"/>
            <ac:spMk id="3" creationId="{5371AF76-B264-C5CE-DF8D-B481729689D8}"/>
          </ac:spMkLst>
        </pc:spChg>
        <pc:spChg chg="mod">
          <ac:chgData name="Mattia Volpato" userId="d4750074-1d82-4b06-bea9-f9f846aceec4" providerId="ADAL" clId="{598E0B15-66F7-4D4D-9F75-C859811114CD}" dt="2025-09-17T09:29:26.101" v="4100" actId="1076"/>
          <ac:spMkLst>
            <pc:docMk/>
            <pc:sldMk cId="2704341272" sldId="353"/>
            <ac:spMk id="21" creationId="{B5721CD3-DA53-055C-22D4-D879319B7B3C}"/>
          </ac:spMkLst>
        </pc:spChg>
        <pc:spChg chg="mod">
          <ac:chgData name="Mattia Volpato" userId="d4750074-1d82-4b06-bea9-f9f846aceec4" providerId="ADAL" clId="{598E0B15-66F7-4D4D-9F75-C859811114CD}" dt="2025-09-18T20:13:14.484" v="10991" actId="113"/>
          <ac:spMkLst>
            <pc:docMk/>
            <pc:sldMk cId="2704341272" sldId="353"/>
            <ac:spMk id="23" creationId="{3FD96F95-76E7-B504-763D-989865E818AB}"/>
          </ac:spMkLst>
        </pc:spChg>
        <pc:spChg chg="del">
          <ac:chgData name="Mattia Volpato" userId="d4750074-1d82-4b06-bea9-f9f846aceec4" providerId="ADAL" clId="{598E0B15-66F7-4D4D-9F75-C859811114CD}" dt="2025-09-17T08:35:06.980" v="2100" actId="478"/>
          <ac:spMkLst>
            <pc:docMk/>
            <pc:sldMk cId="2704341272" sldId="353"/>
            <ac:spMk id="24" creationId="{B98D1B97-D47B-4046-D3DF-78565C5DAFFE}"/>
          </ac:spMkLst>
        </pc:spChg>
        <pc:spChg chg="del mod">
          <ac:chgData name="Mattia Volpato" userId="d4750074-1d82-4b06-bea9-f9f846aceec4" providerId="ADAL" clId="{598E0B15-66F7-4D4D-9F75-C859811114CD}" dt="2025-09-17T08:35:08.349" v="2102" actId="478"/>
          <ac:spMkLst>
            <pc:docMk/>
            <pc:sldMk cId="2704341272" sldId="353"/>
            <ac:spMk id="25" creationId="{4789CE12-5194-BC25-30AB-A95610E20763}"/>
          </ac:spMkLst>
        </pc:spChg>
        <pc:picChg chg="add mod">
          <ac:chgData name="Mattia Volpato" userId="d4750074-1d82-4b06-bea9-f9f846aceec4" providerId="ADAL" clId="{598E0B15-66F7-4D4D-9F75-C859811114CD}" dt="2025-09-17T09:29:39.294" v="4103" actId="1076"/>
          <ac:picMkLst>
            <pc:docMk/>
            <pc:sldMk cId="2704341272" sldId="353"/>
            <ac:picMk id="6" creationId="{569BF9CA-F849-AD2D-763A-D28D64E99A1B}"/>
          </ac:picMkLst>
        </pc:picChg>
        <pc:picChg chg="del mod">
          <ac:chgData name="Mattia Volpato" userId="d4750074-1d82-4b06-bea9-f9f846aceec4" providerId="ADAL" clId="{598E0B15-66F7-4D4D-9F75-C859811114CD}" dt="2025-09-17T08:02:59.689" v="1485" actId="478"/>
          <ac:picMkLst>
            <pc:docMk/>
            <pc:sldMk cId="2704341272" sldId="353"/>
            <ac:picMk id="15" creationId="{DC5C66D4-2157-F4AA-188D-FE2CE2B39719}"/>
          </ac:picMkLst>
        </pc:picChg>
      </pc:sldChg>
      <pc:sldChg chg="addSp delSp modSp add mod">
        <pc:chgData name="Mattia Volpato" userId="d4750074-1d82-4b06-bea9-f9f846aceec4" providerId="ADAL" clId="{598E0B15-66F7-4D4D-9F75-C859811114CD}" dt="2025-09-17T09:12:21.632" v="3377" actId="20577"/>
        <pc:sldMkLst>
          <pc:docMk/>
          <pc:sldMk cId="4144789035" sldId="354"/>
        </pc:sldMkLst>
        <pc:spChg chg="mod">
          <ac:chgData name="Mattia Volpato" userId="d4750074-1d82-4b06-bea9-f9f846aceec4" providerId="ADAL" clId="{598E0B15-66F7-4D4D-9F75-C859811114CD}" dt="2025-09-17T09:12:21.632" v="3377" actId="20577"/>
          <ac:spMkLst>
            <pc:docMk/>
            <pc:sldMk cId="4144789035" sldId="354"/>
            <ac:spMk id="3" creationId="{FF500775-1D8F-CDD6-B466-B4B3A331BED5}"/>
          </ac:spMkLst>
        </pc:spChg>
        <pc:spChg chg="del">
          <ac:chgData name="Mattia Volpato" userId="d4750074-1d82-4b06-bea9-f9f846aceec4" providerId="ADAL" clId="{598E0B15-66F7-4D4D-9F75-C859811114CD}" dt="2025-09-17T08:03:45.056" v="1495" actId="478"/>
          <ac:spMkLst>
            <pc:docMk/>
            <pc:sldMk cId="4144789035" sldId="354"/>
            <ac:spMk id="21" creationId="{C6810608-5116-F9E7-C07D-2E26A0FF0D85}"/>
          </ac:spMkLst>
        </pc:spChg>
        <pc:spChg chg="del">
          <ac:chgData name="Mattia Volpato" userId="d4750074-1d82-4b06-bea9-f9f846aceec4" providerId="ADAL" clId="{598E0B15-66F7-4D4D-9F75-C859811114CD}" dt="2025-09-17T08:03:46.458" v="1496" actId="478"/>
          <ac:spMkLst>
            <pc:docMk/>
            <pc:sldMk cId="4144789035" sldId="354"/>
            <ac:spMk id="23" creationId="{8E67A6A7-BD0B-307D-876F-516BF2A3483E}"/>
          </ac:spMkLst>
        </pc:spChg>
        <pc:spChg chg="del mod">
          <ac:chgData name="Mattia Volpato" userId="d4750074-1d82-4b06-bea9-f9f846aceec4" providerId="ADAL" clId="{598E0B15-66F7-4D4D-9F75-C859811114CD}" dt="2025-09-17T08:03:49.028" v="1498" actId="478"/>
          <ac:spMkLst>
            <pc:docMk/>
            <pc:sldMk cId="4144789035" sldId="354"/>
            <ac:spMk id="24" creationId="{FA403AD7-4F8B-74E0-ACF3-1A21F1C4E2D8}"/>
          </ac:spMkLst>
        </pc:spChg>
        <pc:spChg chg="del">
          <ac:chgData name="Mattia Volpato" userId="d4750074-1d82-4b06-bea9-f9f846aceec4" providerId="ADAL" clId="{598E0B15-66F7-4D4D-9F75-C859811114CD}" dt="2025-09-17T08:03:50.199" v="1499" actId="478"/>
          <ac:spMkLst>
            <pc:docMk/>
            <pc:sldMk cId="4144789035" sldId="354"/>
            <ac:spMk id="25" creationId="{6460AD98-CCAF-089A-3785-950C5926EF12}"/>
          </ac:spMkLst>
        </pc:spChg>
        <pc:picChg chg="del">
          <ac:chgData name="Mattia Volpato" userId="d4750074-1d82-4b06-bea9-f9f846aceec4" providerId="ADAL" clId="{598E0B15-66F7-4D4D-9F75-C859811114CD}" dt="2025-09-17T08:04:16.815" v="1532" actId="478"/>
          <ac:picMkLst>
            <pc:docMk/>
            <pc:sldMk cId="4144789035" sldId="354"/>
            <ac:picMk id="6" creationId="{662B1486-9909-C35E-F87A-7869E8D95C85}"/>
          </ac:picMkLst>
        </pc:picChg>
        <pc:picChg chg="add mod">
          <ac:chgData name="Mattia Volpato" userId="d4750074-1d82-4b06-bea9-f9f846aceec4" providerId="ADAL" clId="{598E0B15-66F7-4D4D-9F75-C859811114CD}" dt="2025-09-17T08:07:21.985" v="1561" actId="14826"/>
          <ac:picMkLst>
            <pc:docMk/>
            <pc:sldMk cId="4144789035" sldId="354"/>
            <ac:picMk id="7" creationId="{16AD50AC-73EB-D568-5F93-5DECB781B294}"/>
          </ac:picMkLst>
        </pc:picChg>
      </pc:sldChg>
      <pc:sldChg chg="modSp add mod">
        <pc:chgData name="Mattia Volpato" userId="d4750074-1d82-4b06-bea9-f9f846aceec4" providerId="ADAL" clId="{598E0B15-66F7-4D4D-9F75-C859811114CD}" dt="2025-09-17T09:12:47.176" v="3387" actId="20577"/>
        <pc:sldMkLst>
          <pc:docMk/>
          <pc:sldMk cId="3955355820" sldId="355"/>
        </pc:sldMkLst>
        <pc:spChg chg="mod">
          <ac:chgData name="Mattia Volpato" userId="d4750074-1d82-4b06-bea9-f9f846aceec4" providerId="ADAL" clId="{598E0B15-66F7-4D4D-9F75-C859811114CD}" dt="2025-09-17T09:12:47.176" v="3387" actId="20577"/>
          <ac:spMkLst>
            <pc:docMk/>
            <pc:sldMk cId="3955355820" sldId="355"/>
            <ac:spMk id="3" creationId="{DBE45F8C-B7D5-F2FF-6752-23F6A8D511B3}"/>
          </ac:spMkLst>
        </pc:spChg>
      </pc:sldChg>
      <pc:sldChg chg="modSp add mod">
        <pc:chgData name="Mattia Volpato" userId="d4750074-1d82-4b06-bea9-f9f846aceec4" providerId="ADAL" clId="{598E0B15-66F7-4D4D-9F75-C859811114CD}" dt="2025-09-17T09:12:27.969" v="3381"/>
        <pc:sldMkLst>
          <pc:docMk/>
          <pc:sldMk cId="2921181001" sldId="356"/>
        </pc:sldMkLst>
        <pc:spChg chg="mod">
          <ac:chgData name="Mattia Volpato" userId="d4750074-1d82-4b06-bea9-f9f846aceec4" providerId="ADAL" clId="{598E0B15-66F7-4D4D-9F75-C859811114CD}" dt="2025-09-17T09:12:27.969" v="3381"/>
          <ac:spMkLst>
            <pc:docMk/>
            <pc:sldMk cId="2921181001" sldId="356"/>
            <ac:spMk id="3" creationId="{AB81E6E2-CF94-4449-C960-1F9E976FE5FB}"/>
          </ac:spMkLst>
        </pc:spChg>
        <pc:picChg chg="mod">
          <ac:chgData name="Mattia Volpato" userId="d4750074-1d82-4b06-bea9-f9f846aceec4" providerId="ADAL" clId="{598E0B15-66F7-4D4D-9F75-C859811114CD}" dt="2025-09-17T08:07:42.258" v="1563" actId="14826"/>
          <ac:picMkLst>
            <pc:docMk/>
            <pc:sldMk cId="2921181001" sldId="356"/>
            <ac:picMk id="7" creationId="{4EBD84D1-3AA3-30A1-EC95-1EFDDDDB47E5}"/>
          </ac:picMkLst>
        </pc:picChg>
      </pc:sldChg>
      <pc:sldChg chg="modSp add mod">
        <pc:chgData name="Mattia Volpato" userId="d4750074-1d82-4b06-bea9-f9f846aceec4" providerId="ADAL" clId="{598E0B15-66F7-4D4D-9F75-C859811114CD}" dt="2025-09-17T09:12:35.273" v="3383" actId="20577"/>
        <pc:sldMkLst>
          <pc:docMk/>
          <pc:sldMk cId="1049040750" sldId="357"/>
        </pc:sldMkLst>
        <pc:spChg chg="mod">
          <ac:chgData name="Mattia Volpato" userId="d4750074-1d82-4b06-bea9-f9f846aceec4" providerId="ADAL" clId="{598E0B15-66F7-4D4D-9F75-C859811114CD}" dt="2025-09-17T09:12:35.273" v="3383" actId="20577"/>
          <ac:spMkLst>
            <pc:docMk/>
            <pc:sldMk cId="1049040750" sldId="357"/>
            <ac:spMk id="3" creationId="{D5CC3917-E6B1-7AEC-46BC-9218FE00B244}"/>
          </ac:spMkLst>
        </pc:spChg>
        <pc:picChg chg="mod">
          <ac:chgData name="Mattia Volpato" userId="d4750074-1d82-4b06-bea9-f9f846aceec4" providerId="ADAL" clId="{598E0B15-66F7-4D4D-9F75-C859811114CD}" dt="2025-09-17T08:08:06.708" v="1565" actId="14826"/>
          <ac:picMkLst>
            <pc:docMk/>
            <pc:sldMk cId="1049040750" sldId="357"/>
            <ac:picMk id="7" creationId="{144004EB-A736-6841-971E-E8B204702A9A}"/>
          </ac:picMkLst>
        </pc:picChg>
      </pc:sldChg>
      <pc:sldChg chg="modSp add mod">
        <pc:chgData name="Mattia Volpato" userId="d4750074-1d82-4b06-bea9-f9f846aceec4" providerId="ADAL" clId="{598E0B15-66F7-4D4D-9F75-C859811114CD}" dt="2025-09-17T09:12:42.074" v="3385"/>
        <pc:sldMkLst>
          <pc:docMk/>
          <pc:sldMk cId="2642512921" sldId="358"/>
        </pc:sldMkLst>
        <pc:spChg chg="mod">
          <ac:chgData name="Mattia Volpato" userId="d4750074-1d82-4b06-bea9-f9f846aceec4" providerId="ADAL" clId="{598E0B15-66F7-4D4D-9F75-C859811114CD}" dt="2025-09-17T09:12:42.074" v="3385"/>
          <ac:spMkLst>
            <pc:docMk/>
            <pc:sldMk cId="2642512921" sldId="358"/>
            <ac:spMk id="3" creationId="{1CF25C0F-F726-F253-6D0F-CB17BFAF9AA5}"/>
          </ac:spMkLst>
        </pc:spChg>
        <pc:picChg chg="mod">
          <ac:chgData name="Mattia Volpato" userId="d4750074-1d82-4b06-bea9-f9f846aceec4" providerId="ADAL" clId="{598E0B15-66F7-4D4D-9F75-C859811114CD}" dt="2025-09-17T08:08:28.294" v="1567" actId="14826"/>
          <ac:picMkLst>
            <pc:docMk/>
            <pc:sldMk cId="2642512921" sldId="358"/>
            <ac:picMk id="7" creationId="{41F64FC5-BA6E-EB5B-BF30-A2D122DB6DE2}"/>
          </ac:picMkLst>
        </pc:picChg>
      </pc:sldChg>
      <pc:sldChg chg="addSp delSp modSp add mod ord">
        <pc:chgData name="Mattia Volpato" userId="d4750074-1d82-4b06-bea9-f9f846aceec4" providerId="ADAL" clId="{598E0B15-66F7-4D4D-9F75-C859811114CD}" dt="2025-09-17T13:51:18.325" v="5604" actId="207"/>
        <pc:sldMkLst>
          <pc:docMk/>
          <pc:sldMk cId="509673221" sldId="359"/>
        </pc:sldMkLst>
        <pc:spChg chg="mod">
          <ac:chgData name="Mattia Volpato" userId="d4750074-1d82-4b06-bea9-f9f846aceec4" providerId="ADAL" clId="{598E0B15-66F7-4D4D-9F75-C859811114CD}" dt="2025-09-17T11:53:26.661" v="4405" actId="20577"/>
          <ac:spMkLst>
            <pc:docMk/>
            <pc:sldMk cId="509673221" sldId="359"/>
            <ac:spMk id="3" creationId="{05D7BE7D-5D25-B054-522C-25670EAD9AB6}"/>
          </ac:spMkLst>
        </pc:spChg>
        <pc:spChg chg="add mod">
          <ac:chgData name="Mattia Volpato" userId="d4750074-1d82-4b06-bea9-f9f846aceec4" providerId="ADAL" clId="{598E0B15-66F7-4D4D-9F75-C859811114CD}" dt="2025-09-17T09:02:40.330" v="3172" actId="113"/>
          <ac:spMkLst>
            <pc:docMk/>
            <pc:sldMk cId="509673221" sldId="359"/>
            <ac:spMk id="9" creationId="{D9694C4E-5D68-BC16-F60F-2033F2CDCBFC}"/>
          </ac:spMkLst>
        </pc:spChg>
        <pc:spChg chg="add mod">
          <ac:chgData name="Mattia Volpato" userId="d4750074-1d82-4b06-bea9-f9f846aceec4" providerId="ADAL" clId="{598E0B15-66F7-4D4D-9F75-C859811114CD}" dt="2025-09-17T09:02:46.437" v="3174" actId="113"/>
          <ac:spMkLst>
            <pc:docMk/>
            <pc:sldMk cId="509673221" sldId="359"/>
            <ac:spMk id="10" creationId="{531DC066-9E16-A589-C36A-9C4C2129659D}"/>
          </ac:spMkLst>
        </pc:spChg>
        <pc:spChg chg="del">
          <ac:chgData name="Mattia Volpato" userId="d4750074-1d82-4b06-bea9-f9f846aceec4" providerId="ADAL" clId="{598E0B15-66F7-4D4D-9F75-C859811114CD}" dt="2025-09-17T08:11:41.147" v="1598" actId="478"/>
          <ac:spMkLst>
            <pc:docMk/>
            <pc:sldMk cId="509673221" sldId="359"/>
            <ac:spMk id="21" creationId="{FB69E879-AA18-1C49-ECB5-EBDE342EC08F}"/>
          </ac:spMkLst>
        </pc:spChg>
        <pc:spChg chg="del">
          <ac:chgData name="Mattia Volpato" userId="d4750074-1d82-4b06-bea9-f9f846aceec4" providerId="ADAL" clId="{598E0B15-66F7-4D4D-9F75-C859811114CD}" dt="2025-09-17T08:11:42.407" v="1599" actId="478"/>
          <ac:spMkLst>
            <pc:docMk/>
            <pc:sldMk cId="509673221" sldId="359"/>
            <ac:spMk id="23" creationId="{82500111-64A8-D94B-EFE8-BEB34F68AE6D}"/>
          </ac:spMkLst>
        </pc:spChg>
        <pc:spChg chg="del">
          <ac:chgData name="Mattia Volpato" userId="d4750074-1d82-4b06-bea9-f9f846aceec4" providerId="ADAL" clId="{598E0B15-66F7-4D4D-9F75-C859811114CD}" dt="2025-09-17T08:11:43.975" v="1600" actId="478"/>
          <ac:spMkLst>
            <pc:docMk/>
            <pc:sldMk cId="509673221" sldId="359"/>
            <ac:spMk id="24" creationId="{9FC58F49-6F95-5D51-EC19-42327DE0AC21}"/>
          </ac:spMkLst>
        </pc:spChg>
        <pc:spChg chg="del">
          <ac:chgData name="Mattia Volpato" userId="d4750074-1d82-4b06-bea9-f9f846aceec4" providerId="ADAL" clId="{598E0B15-66F7-4D4D-9F75-C859811114CD}" dt="2025-09-17T08:11:45.187" v="1601" actId="478"/>
          <ac:spMkLst>
            <pc:docMk/>
            <pc:sldMk cId="509673221" sldId="359"/>
            <ac:spMk id="25" creationId="{FE3371D1-E1D4-E7AD-650B-93EFB1A0A14B}"/>
          </ac:spMkLst>
        </pc:spChg>
        <pc:graphicFrameChg chg="add mod modGraphic">
          <ac:chgData name="Mattia Volpato" userId="d4750074-1d82-4b06-bea9-f9f846aceec4" providerId="ADAL" clId="{598E0B15-66F7-4D4D-9F75-C859811114CD}" dt="2025-09-17T13:51:11.215" v="5603" actId="207"/>
          <ac:graphicFrameMkLst>
            <pc:docMk/>
            <pc:sldMk cId="509673221" sldId="359"/>
            <ac:graphicFrameMk id="4" creationId="{7AD74106-42DD-8B7D-A03D-BE4902E71FF9}"/>
          </ac:graphicFrameMkLst>
        </pc:graphicFrameChg>
        <pc:graphicFrameChg chg="add">
          <ac:chgData name="Mattia Volpato" userId="d4750074-1d82-4b06-bea9-f9f846aceec4" providerId="ADAL" clId="{598E0B15-66F7-4D4D-9F75-C859811114CD}" dt="2025-09-17T08:16:32.101" v="1698"/>
          <ac:graphicFrameMkLst>
            <pc:docMk/>
            <pc:sldMk cId="509673221" sldId="359"/>
            <ac:graphicFrameMk id="7" creationId="{A4E920AC-1E05-B67F-AEC8-7904DF90D4F5}"/>
          </ac:graphicFrameMkLst>
        </pc:graphicFrameChg>
        <pc:graphicFrameChg chg="add mod modGraphic">
          <ac:chgData name="Mattia Volpato" userId="d4750074-1d82-4b06-bea9-f9f846aceec4" providerId="ADAL" clId="{598E0B15-66F7-4D4D-9F75-C859811114CD}" dt="2025-09-17T13:51:18.325" v="5604" actId="207"/>
          <ac:graphicFrameMkLst>
            <pc:docMk/>
            <pc:sldMk cId="509673221" sldId="359"/>
            <ac:graphicFrameMk id="8" creationId="{772F7656-F462-5B68-A82B-02C0D0E9D6AF}"/>
          </ac:graphicFrameMkLst>
        </pc:graphicFrameChg>
        <pc:picChg chg="del">
          <ac:chgData name="Mattia Volpato" userId="d4750074-1d82-4b06-bea9-f9f846aceec4" providerId="ADAL" clId="{598E0B15-66F7-4D4D-9F75-C859811114CD}" dt="2025-09-17T08:09:49.359" v="1597" actId="478"/>
          <ac:picMkLst>
            <pc:docMk/>
            <pc:sldMk cId="509673221" sldId="359"/>
            <ac:picMk id="6" creationId="{C957EEEB-A5D3-1FC3-2126-4B03536649BF}"/>
          </ac:picMkLst>
        </pc:picChg>
      </pc:sldChg>
      <pc:sldChg chg="addSp delSp modSp add del mod ord">
        <pc:chgData name="Mattia Volpato" userId="d4750074-1d82-4b06-bea9-f9f846aceec4" providerId="ADAL" clId="{598E0B15-66F7-4D4D-9F75-C859811114CD}" dt="2025-09-17T11:59:35.696" v="4480" actId="2696"/>
        <pc:sldMkLst>
          <pc:docMk/>
          <pc:sldMk cId="824295946" sldId="360"/>
        </pc:sldMkLst>
        <pc:spChg chg="mod">
          <ac:chgData name="Mattia Volpato" userId="d4750074-1d82-4b06-bea9-f9f846aceec4" providerId="ADAL" clId="{598E0B15-66F7-4D4D-9F75-C859811114CD}" dt="2025-09-17T11:57:39.238" v="4442" actId="21"/>
          <ac:spMkLst>
            <pc:docMk/>
            <pc:sldMk cId="824295946" sldId="360"/>
            <ac:spMk id="3" creationId="{E3DDB42D-5428-7512-AFAE-E26ECDFD9C90}"/>
          </ac:spMkLst>
        </pc:spChg>
        <pc:spChg chg="add mod">
          <ac:chgData name="Mattia Volpato" userId="d4750074-1d82-4b06-bea9-f9f846aceec4" providerId="ADAL" clId="{598E0B15-66F7-4D4D-9F75-C859811114CD}" dt="2025-09-17T11:56:48.889" v="4411" actId="14100"/>
          <ac:spMkLst>
            <pc:docMk/>
            <pc:sldMk cId="824295946" sldId="360"/>
            <ac:spMk id="4" creationId="{57FBE0CC-1239-7065-3760-BA146556E096}"/>
          </ac:spMkLst>
        </pc:spChg>
        <pc:spChg chg="del">
          <ac:chgData name="Mattia Volpato" userId="d4750074-1d82-4b06-bea9-f9f846aceec4" providerId="ADAL" clId="{598E0B15-66F7-4D4D-9F75-C859811114CD}" dt="2025-09-17T09:47:38.576" v="4256" actId="478"/>
          <ac:spMkLst>
            <pc:docMk/>
            <pc:sldMk cId="824295946" sldId="360"/>
            <ac:spMk id="5" creationId="{99487934-C31A-7FE7-1401-4B2CC39FBF05}"/>
          </ac:spMkLst>
        </pc:spChg>
        <pc:spChg chg="add mod">
          <ac:chgData name="Mattia Volpato" userId="d4750074-1d82-4b06-bea9-f9f846aceec4" providerId="ADAL" clId="{598E0B15-66F7-4D4D-9F75-C859811114CD}" dt="2025-09-17T11:57:08.273" v="4424" actId="20577"/>
          <ac:spMkLst>
            <pc:docMk/>
            <pc:sldMk cId="824295946" sldId="360"/>
            <ac:spMk id="7" creationId="{0471206B-9966-921E-2E48-0D9B06833E40}"/>
          </ac:spMkLst>
        </pc:spChg>
        <pc:spChg chg="add del mod">
          <ac:chgData name="Mattia Volpato" userId="d4750074-1d82-4b06-bea9-f9f846aceec4" providerId="ADAL" clId="{598E0B15-66F7-4D4D-9F75-C859811114CD}" dt="2025-09-17T09:49:02.096" v="4314" actId="478"/>
          <ac:spMkLst>
            <pc:docMk/>
            <pc:sldMk cId="824295946" sldId="360"/>
            <ac:spMk id="8" creationId="{6223465E-981C-ADE3-46D8-D79AD231F4E7}"/>
          </ac:spMkLst>
        </pc:spChg>
        <pc:spChg chg="add del mod">
          <ac:chgData name="Mattia Volpato" userId="d4750074-1d82-4b06-bea9-f9f846aceec4" providerId="ADAL" clId="{598E0B15-66F7-4D4D-9F75-C859811114CD}" dt="2025-09-17T09:49:02.789" v="4315" actId="478"/>
          <ac:spMkLst>
            <pc:docMk/>
            <pc:sldMk cId="824295946" sldId="360"/>
            <ac:spMk id="9" creationId="{776CC7BB-E942-C0B8-C85A-264D2DE1F606}"/>
          </ac:spMkLst>
        </pc:spChg>
        <pc:spChg chg="del">
          <ac:chgData name="Mattia Volpato" userId="d4750074-1d82-4b06-bea9-f9f846aceec4" providerId="ADAL" clId="{598E0B15-66F7-4D4D-9F75-C859811114CD}" dt="2025-09-17T09:47:26.330" v="4246" actId="478"/>
          <ac:spMkLst>
            <pc:docMk/>
            <pc:sldMk cId="824295946" sldId="360"/>
            <ac:spMk id="10" creationId="{3D9A6A8D-5F7E-B462-7AA8-A7A1CF00FF3B}"/>
          </ac:spMkLst>
        </pc:spChg>
        <pc:spChg chg="add del mod">
          <ac:chgData name="Mattia Volpato" userId="d4750074-1d82-4b06-bea9-f9f846aceec4" providerId="ADAL" clId="{598E0B15-66F7-4D4D-9F75-C859811114CD}" dt="2025-09-17T11:57:12.659" v="4425" actId="478"/>
          <ac:spMkLst>
            <pc:docMk/>
            <pc:sldMk cId="824295946" sldId="360"/>
            <ac:spMk id="11" creationId="{B6D5471D-F136-C781-28C4-598AFCD599F9}"/>
          </ac:spMkLst>
        </pc:spChg>
        <pc:spChg chg="add del mod">
          <ac:chgData name="Mattia Volpato" userId="d4750074-1d82-4b06-bea9-f9f846aceec4" providerId="ADAL" clId="{598E0B15-66F7-4D4D-9F75-C859811114CD}" dt="2025-09-17T11:57:15.021" v="4428" actId="478"/>
          <ac:spMkLst>
            <pc:docMk/>
            <pc:sldMk cId="824295946" sldId="360"/>
            <ac:spMk id="12" creationId="{CFC877EE-A1E4-F54E-4F1B-3ED45779BD1C}"/>
          </ac:spMkLst>
        </pc:spChg>
        <pc:spChg chg="add del mod">
          <ac:chgData name="Mattia Volpato" userId="d4750074-1d82-4b06-bea9-f9f846aceec4" providerId="ADAL" clId="{598E0B15-66F7-4D4D-9F75-C859811114CD}" dt="2025-09-17T11:57:12.661" v="4427"/>
          <ac:spMkLst>
            <pc:docMk/>
            <pc:sldMk cId="824295946" sldId="360"/>
            <ac:spMk id="13" creationId="{5A243051-556C-A4EB-D0E0-9F047F41BCA8}"/>
          </ac:spMkLst>
        </pc:spChg>
        <pc:spChg chg="del">
          <ac:chgData name="Mattia Volpato" userId="d4750074-1d82-4b06-bea9-f9f846aceec4" providerId="ADAL" clId="{598E0B15-66F7-4D4D-9F75-C859811114CD}" dt="2025-09-17T09:47:36.202" v="4252" actId="478"/>
          <ac:spMkLst>
            <pc:docMk/>
            <pc:sldMk cId="824295946" sldId="360"/>
            <ac:spMk id="14" creationId="{88A80E17-5551-6B2E-F05C-010350757B8B}"/>
          </ac:spMkLst>
        </pc:spChg>
        <pc:spChg chg="del">
          <ac:chgData name="Mattia Volpato" userId="d4750074-1d82-4b06-bea9-f9f846aceec4" providerId="ADAL" clId="{598E0B15-66F7-4D4D-9F75-C859811114CD}" dt="2025-09-17T09:47:29.062" v="4247" actId="478"/>
          <ac:spMkLst>
            <pc:docMk/>
            <pc:sldMk cId="824295946" sldId="360"/>
            <ac:spMk id="17" creationId="{07143CA1-2BA3-14E2-C21C-171915BBE7C9}"/>
          </ac:spMkLst>
        </pc:spChg>
        <pc:spChg chg="del mod">
          <ac:chgData name="Mattia Volpato" userId="d4750074-1d82-4b06-bea9-f9f846aceec4" providerId="ADAL" clId="{598E0B15-66F7-4D4D-9F75-C859811114CD}" dt="2025-09-17T09:47:35.227" v="4251" actId="478"/>
          <ac:spMkLst>
            <pc:docMk/>
            <pc:sldMk cId="824295946" sldId="360"/>
            <ac:spMk id="19" creationId="{8DFD43EC-23F0-40FF-E4CB-0470B709D4DA}"/>
          </ac:spMkLst>
        </pc:spChg>
        <pc:spChg chg="del">
          <ac:chgData name="Mattia Volpato" userId="d4750074-1d82-4b06-bea9-f9f846aceec4" providerId="ADAL" clId="{598E0B15-66F7-4D4D-9F75-C859811114CD}" dt="2025-09-17T09:47:33.942" v="4249" actId="478"/>
          <ac:spMkLst>
            <pc:docMk/>
            <pc:sldMk cId="824295946" sldId="360"/>
            <ac:spMk id="20" creationId="{DEFE53E9-2FCB-1A94-A29C-CC0C5C5DF0E6}"/>
          </ac:spMkLst>
        </pc:spChg>
        <pc:spChg chg="del mod">
          <ac:chgData name="Mattia Volpato" userId="d4750074-1d82-4b06-bea9-f9f846aceec4" providerId="ADAL" clId="{598E0B15-66F7-4D4D-9F75-C859811114CD}" dt="2025-09-17T09:47:37.998" v="4255" actId="478"/>
          <ac:spMkLst>
            <pc:docMk/>
            <pc:sldMk cId="824295946" sldId="360"/>
            <ac:spMk id="22" creationId="{CF301BC6-8C35-395E-A683-B42CCB505FA5}"/>
          </ac:spMkLst>
        </pc:spChg>
        <pc:spChg chg="del">
          <ac:chgData name="Mattia Volpato" userId="d4750074-1d82-4b06-bea9-f9f846aceec4" providerId="ADAL" clId="{598E0B15-66F7-4D4D-9F75-C859811114CD}" dt="2025-09-17T09:47:36.807" v="4253" actId="478"/>
          <ac:spMkLst>
            <pc:docMk/>
            <pc:sldMk cId="824295946" sldId="360"/>
            <ac:spMk id="23" creationId="{CC5163FB-78C6-2937-0832-BEBD9189F4F2}"/>
          </ac:spMkLst>
        </pc:spChg>
        <pc:picChg chg="del">
          <ac:chgData name="Mattia Volpato" userId="d4750074-1d82-4b06-bea9-f9f846aceec4" providerId="ADAL" clId="{598E0B15-66F7-4D4D-9F75-C859811114CD}" dt="2025-09-17T09:47:33.139" v="4248" actId="478"/>
          <ac:picMkLst>
            <pc:docMk/>
            <pc:sldMk cId="824295946" sldId="360"/>
            <ac:picMk id="18" creationId="{8E8D9C59-CA11-8CF6-C86B-DC1BF627A92E}"/>
          </ac:picMkLst>
        </pc:picChg>
      </pc:sldChg>
      <pc:sldChg chg="addSp delSp modSp add mod">
        <pc:chgData name="Mattia Volpato" userId="d4750074-1d82-4b06-bea9-f9f846aceec4" providerId="ADAL" clId="{598E0B15-66F7-4D4D-9F75-C859811114CD}" dt="2025-09-17T13:52:06.304" v="5605" actId="207"/>
        <pc:sldMkLst>
          <pc:docMk/>
          <pc:sldMk cId="399415078" sldId="361"/>
        </pc:sldMkLst>
        <pc:spChg chg="mod">
          <ac:chgData name="Mattia Volpato" userId="d4750074-1d82-4b06-bea9-f9f846aceec4" providerId="ADAL" clId="{598E0B15-66F7-4D4D-9F75-C859811114CD}" dt="2025-09-17T11:59:55.799" v="4497" actId="20577"/>
          <ac:spMkLst>
            <pc:docMk/>
            <pc:sldMk cId="399415078" sldId="361"/>
            <ac:spMk id="3" creationId="{9350B142-7CE5-7DB9-C28B-673C6F4DAD14}"/>
          </ac:spMkLst>
        </pc:spChg>
        <pc:spChg chg="add del mod">
          <ac:chgData name="Mattia Volpato" userId="d4750074-1d82-4b06-bea9-f9f846aceec4" providerId="ADAL" clId="{598E0B15-66F7-4D4D-9F75-C859811114CD}" dt="2025-09-17T13:16:31.797" v="4913" actId="21"/>
          <ac:spMkLst>
            <pc:docMk/>
            <pc:sldMk cId="399415078" sldId="361"/>
            <ac:spMk id="4" creationId="{4462C923-6FA2-272F-6B6B-196C062DE618}"/>
          </ac:spMkLst>
        </pc:spChg>
        <pc:spChg chg="del mod">
          <ac:chgData name="Mattia Volpato" userId="d4750074-1d82-4b06-bea9-f9f846aceec4" providerId="ADAL" clId="{598E0B15-66F7-4D4D-9F75-C859811114CD}" dt="2025-09-17T13:16:31.797" v="4913" actId="21"/>
          <ac:spMkLst>
            <pc:docMk/>
            <pc:sldMk cId="399415078" sldId="361"/>
            <ac:spMk id="7" creationId="{D04A9198-7944-C232-84B6-AC4CC8AEC87E}"/>
          </ac:spMkLst>
        </pc:spChg>
        <pc:spChg chg="add del mod">
          <ac:chgData name="Mattia Volpato" userId="d4750074-1d82-4b06-bea9-f9f846aceec4" providerId="ADAL" clId="{598E0B15-66F7-4D4D-9F75-C859811114CD}" dt="2025-09-17T13:15:41.932" v="4900"/>
          <ac:spMkLst>
            <pc:docMk/>
            <pc:sldMk cId="399415078" sldId="361"/>
            <ac:spMk id="8" creationId="{254DA31D-4104-EA47-C281-1A4EDC06DA9A}"/>
          </ac:spMkLst>
        </pc:spChg>
        <pc:spChg chg="add mod">
          <ac:chgData name="Mattia Volpato" userId="d4750074-1d82-4b06-bea9-f9f846aceec4" providerId="ADAL" clId="{598E0B15-66F7-4D4D-9F75-C859811114CD}" dt="2025-09-17T13:16:37.834" v="4914" actId="1076"/>
          <ac:spMkLst>
            <pc:docMk/>
            <pc:sldMk cId="399415078" sldId="361"/>
            <ac:spMk id="9" creationId="{50504B79-3CF8-C140-7413-512096A73108}"/>
          </ac:spMkLst>
        </pc:spChg>
        <pc:spChg chg="add mod">
          <ac:chgData name="Mattia Volpato" userId="d4750074-1d82-4b06-bea9-f9f846aceec4" providerId="ADAL" clId="{598E0B15-66F7-4D4D-9F75-C859811114CD}" dt="2025-09-17T13:19:12.895" v="4944" actId="113"/>
          <ac:spMkLst>
            <pc:docMk/>
            <pc:sldMk cId="399415078" sldId="361"/>
            <ac:spMk id="10" creationId="{A6B24794-5920-3CFC-EF96-853D7C364093}"/>
          </ac:spMkLst>
        </pc:spChg>
        <pc:spChg chg="add mod">
          <ac:chgData name="Mattia Volpato" userId="d4750074-1d82-4b06-bea9-f9f846aceec4" providerId="ADAL" clId="{598E0B15-66F7-4D4D-9F75-C859811114CD}" dt="2025-09-17T13:23:24.918" v="5064" actId="1076"/>
          <ac:spMkLst>
            <pc:docMk/>
            <pc:sldMk cId="399415078" sldId="361"/>
            <ac:spMk id="11" creationId="{F5B465B8-1A1E-F6C2-AFD2-0BA9570DAA4F}"/>
          </ac:spMkLst>
        </pc:spChg>
        <pc:spChg chg="add mod">
          <ac:chgData name="Mattia Volpato" userId="d4750074-1d82-4b06-bea9-f9f846aceec4" providerId="ADAL" clId="{598E0B15-66F7-4D4D-9F75-C859811114CD}" dt="2025-09-17T13:16:06.905" v="4904" actId="1076"/>
          <ac:spMkLst>
            <pc:docMk/>
            <pc:sldMk cId="399415078" sldId="361"/>
            <ac:spMk id="12" creationId="{387EBDE5-BA3B-1317-A51B-A9F4B553B1D4}"/>
          </ac:spMkLst>
        </pc:spChg>
        <pc:spChg chg="add mod">
          <ac:chgData name="Mattia Volpato" userId="d4750074-1d82-4b06-bea9-f9f846aceec4" providerId="ADAL" clId="{598E0B15-66F7-4D4D-9F75-C859811114CD}" dt="2025-09-17T13:52:06.304" v="5605" actId="207"/>
          <ac:spMkLst>
            <pc:docMk/>
            <pc:sldMk cId="399415078" sldId="361"/>
            <ac:spMk id="13" creationId="{030A79EC-99DC-475E-23F0-BE20E5E2CA68}"/>
          </ac:spMkLst>
        </pc:spChg>
        <pc:spChg chg="add mod">
          <ac:chgData name="Mattia Volpato" userId="d4750074-1d82-4b06-bea9-f9f846aceec4" providerId="ADAL" clId="{598E0B15-66F7-4D4D-9F75-C859811114CD}" dt="2025-09-17T13:16:42.803" v="4916" actId="1076"/>
          <ac:spMkLst>
            <pc:docMk/>
            <pc:sldMk cId="399415078" sldId="361"/>
            <ac:spMk id="14" creationId="{4462C923-6FA2-272F-6B6B-196C062DE618}"/>
          </ac:spMkLst>
        </pc:spChg>
        <pc:spChg chg="add mod">
          <ac:chgData name="Mattia Volpato" userId="d4750074-1d82-4b06-bea9-f9f846aceec4" providerId="ADAL" clId="{598E0B15-66F7-4D4D-9F75-C859811114CD}" dt="2025-09-17T13:23:28.149" v="5065" actId="1076"/>
          <ac:spMkLst>
            <pc:docMk/>
            <pc:sldMk cId="399415078" sldId="361"/>
            <ac:spMk id="15" creationId="{D04A9198-7944-C232-84B6-AC4CC8AEC87E}"/>
          </ac:spMkLst>
        </pc:spChg>
        <pc:spChg chg="add del mod">
          <ac:chgData name="Mattia Volpato" userId="d4750074-1d82-4b06-bea9-f9f846aceec4" providerId="ADAL" clId="{598E0B15-66F7-4D4D-9F75-C859811114CD}" dt="2025-09-17T13:27:19.127" v="5184" actId="478"/>
          <ac:spMkLst>
            <pc:docMk/>
            <pc:sldMk cId="399415078" sldId="361"/>
            <ac:spMk id="16" creationId="{DB22B5F1-3212-68E4-8475-BFDED278C3AF}"/>
          </ac:spMkLst>
        </pc:spChg>
        <pc:picChg chg="add del mod">
          <ac:chgData name="Mattia Volpato" userId="d4750074-1d82-4b06-bea9-f9f846aceec4" providerId="ADAL" clId="{598E0B15-66F7-4D4D-9F75-C859811114CD}" dt="2025-09-17T13:12:18.044" v="4849" actId="478"/>
          <ac:picMkLst>
            <pc:docMk/>
            <pc:sldMk cId="399415078" sldId="361"/>
            <ac:picMk id="5" creationId="{164E3E8E-9C04-59AA-0B72-2613AF50E0BD}"/>
          </ac:picMkLst>
        </pc:picChg>
      </pc:sldChg>
      <pc:sldChg chg="addSp delSp modSp add del mod">
        <pc:chgData name="Mattia Volpato" userId="d4750074-1d82-4b06-bea9-f9f846aceec4" providerId="ADAL" clId="{598E0B15-66F7-4D4D-9F75-C859811114CD}" dt="2025-09-17T13:26:21.565" v="5179" actId="2696"/>
        <pc:sldMkLst>
          <pc:docMk/>
          <pc:sldMk cId="3430024176" sldId="362"/>
        </pc:sldMkLst>
        <pc:spChg chg="mod">
          <ac:chgData name="Mattia Volpato" userId="d4750074-1d82-4b06-bea9-f9f846aceec4" providerId="ADAL" clId="{598E0B15-66F7-4D4D-9F75-C859811114CD}" dt="2025-09-17T13:08:59.046" v="4788" actId="14100"/>
          <ac:spMkLst>
            <pc:docMk/>
            <pc:sldMk cId="3430024176" sldId="362"/>
            <ac:spMk id="4" creationId="{CFA5C96E-E77A-AE47-DF33-09C6277D5108}"/>
          </ac:spMkLst>
        </pc:spChg>
        <pc:spChg chg="add del mod">
          <ac:chgData name="Mattia Volpato" userId="d4750074-1d82-4b06-bea9-f9f846aceec4" providerId="ADAL" clId="{598E0B15-66F7-4D4D-9F75-C859811114CD}" dt="2025-09-17T12:03:20.572" v="4629"/>
          <ac:spMkLst>
            <pc:docMk/>
            <pc:sldMk cId="3430024176" sldId="362"/>
            <ac:spMk id="5" creationId="{ADB94511-482F-051F-C12E-32C235D4451C}"/>
          </ac:spMkLst>
        </pc:spChg>
        <pc:spChg chg="mod">
          <ac:chgData name="Mattia Volpato" userId="d4750074-1d82-4b06-bea9-f9f846aceec4" providerId="ADAL" clId="{598E0B15-66F7-4D4D-9F75-C859811114CD}" dt="2025-09-17T13:09:01.505" v="4789" actId="14100"/>
          <ac:spMkLst>
            <pc:docMk/>
            <pc:sldMk cId="3430024176" sldId="362"/>
            <ac:spMk id="7" creationId="{23DADF28-AFD1-318A-7A5A-822462AE554F}"/>
          </ac:spMkLst>
        </pc:spChg>
        <pc:picChg chg="add del">
          <ac:chgData name="Mattia Volpato" userId="d4750074-1d82-4b06-bea9-f9f846aceec4" providerId="ADAL" clId="{598E0B15-66F7-4D4D-9F75-C859811114CD}" dt="2025-09-17T13:08:34.624" v="4785" actId="478"/>
          <ac:picMkLst>
            <pc:docMk/>
            <pc:sldMk cId="3430024176" sldId="362"/>
            <ac:picMk id="8" creationId="{5005A78C-AA7D-D751-7F6B-41C5F722BD7D}"/>
          </ac:picMkLst>
        </pc:picChg>
        <pc:picChg chg="add mod">
          <ac:chgData name="Mattia Volpato" userId="d4750074-1d82-4b06-bea9-f9f846aceec4" providerId="ADAL" clId="{598E0B15-66F7-4D4D-9F75-C859811114CD}" dt="2025-09-17T13:09:09.214" v="4792" actId="1076"/>
          <ac:picMkLst>
            <pc:docMk/>
            <pc:sldMk cId="3430024176" sldId="362"/>
            <ac:picMk id="10" creationId="{2C13214A-7274-E00C-D195-7A24CBBFD3FC}"/>
          </ac:picMkLst>
        </pc:picChg>
      </pc:sldChg>
      <pc:sldChg chg="modSp add mod">
        <pc:chgData name="Mattia Volpato" userId="d4750074-1d82-4b06-bea9-f9f846aceec4" providerId="ADAL" clId="{598E0B15-66F7-4D4D-9F75-C859811114CD}" dt="2025-09-17T13:52:10.114" v="5606" actId="207"/>
        <pc:sldMkLst>
          <pc:docMk/>
          <pc:sldMk cId="2169029525" sldId="363"/>
        </pc:sldMkLst>
        <pc:spChg chg="mod">
          <ac:chgData name="Mattia Volpato" userId="d4750074-1d82-4b06-bea9-f9f846aceec4" providerId="ADAL" clId="{598E0B15-66F7-4D4D-9F75-C859811114CD}" dt="2025-09-17T13:22:36.740" v="5051"/>
          <ac:spMkLst>
            <pc:docMk/>
            <pc:sldMk cId="2169029525" sldId="363"/>
            <ac:spMk id="3" creationId="{7DB16428-270F-F2F0-81D5-1B7CEA169FC2}"/>
          </ac:spMkLst>
        </pc:spChg>
        <pc:spChg chg="mod">
          <ac:chgData name="Mattia Volpato" userId="d4750074-1d82-4b06-bea9-f9f846aceec4" providerId="ADAL" clId="{598E0B15-66F7-4D4D-9F75-C859811114CD}" dt="2025-09-17T13:32:11.342" v="5237" actId="20577"/>
          <ac:spMkLst>
            <pc:docMk/>
            <pc:sldMk cId="2169029525" sldId="363"/>
            <ac:spMk id="9" creationId="{FED43921-0D92-B24B-ACD0-C602B78AE93C}"/>
          </ac:spMkLst>
        </pc:spChg>
        <pc:spChg chg="mod">
          <ac:chgData name="Mattia Volpato" userId="d4750074-1d82-4b06-bea9-f9f846aceec4" providerId="ADAL" clId="{598E0B15-66F7-4D4D-9F75-C859811114CD}" dt="2025-09-17T13:33:08.112" v="5244" actId="113"/>
          <ac:spMkLst>
            <pc:docMk/>
            <pc:sldMk cId="2169029525" sldId="363"/>
            <ac:spMk id="10" creationId="{120C8DA2-D96F-A7E0-00E6-550064277A86}"/>
          </ac:spMkLst>
        </pc:spChg>
        <pc:spChg chg="mod">
          <ac:chgData name="Mattia Volpato" userId="d4750074-1d82-4b06-bea9-f9f846aceec4" providerId="ADAL" clId="{598E0B15-66F7-4D4D-9F75-C859811114CD}" dt="2025-09-17T13:33:13.887" v="5245" actId="113"/>
          <ac:spMkLst>
            <pc:docMk/>
            <pc:sldMk cId="2169029525" sldId="363"/>
            <ac:spMk id="11" creationId="{51FE4029-C68B-E67B-9714-7B0F2A73FBAC}"/>
          </ac:spMkLst>
        </pc:spChg>
        <pc:spChg chg="mod">
          <ac:chgData name="Mattia Volpato" userId="d4750074-1d82-4b06-bea9-f9f846aceec4" providerId="ADAL" clId="{598E0B15-66F7-4D4D-9F75-C859811114CD}" dt="2025-09-17T13:32:27.267" v="5239" actId="1076"/>
          <ac:spMkLst>
            <pc:docMk/>
            <pc:sldMk cId="2169029525" sldId="363"/>
            <ac:spMk id="12" creationId="{1E2E6BDE-BA93-E7BB-FF3D-FC4E28157A0B}"/>
          </ac:spMkLst>
        </pc:spChg>
        <pc:spChg chg="mod">
          <ac:chgData name="Mattia Volpato" userId="d4750074-1d82-4b06-bea9-f9f846aceec4" providerId="ADAL" clId="{598E0B15-66F7-4D4D-9F75-C859811114CD}" dt="2025-09-17T13:52:10.114" v="5606" actId="207"/>
          <ac:spMkLst>
            <pc:docMk/>
            <pc:sldMk cId="2169029525" sldId="363"/>
            <ac:spMk id="13" creationId="{1BC562EF-8E43-7AF4-B5BA-AB751D9ECAF9}"/>
          </ac:spMkLst>
        </pc:spChg>
        <pc:spChg chg="mod">
          <ac:chgData name="Mattia Volpato" userId="d4750074-1d82-4b06-bea9-f9f846aceec4" providerId="ADAL" clId="{598E0B15-66F7-4D4D-9F75-C859811114CD}" dt="2025-09-17T13:32:33.084" v="5241" actId="1076"/>
          <ac:spMkLst>
            <pc:docMk/>
            <pc:sldMk cId="2169029525" sldId="363"/>
            <ac:spMk id="14" creationId="{5E852576-BFB6-CF35-9737-ACDA80B0ED9B}"/>
          </ac:spMkLst>
        </pc:spChg>
        <pc:spChg chg="mod">
          <ac:chgData name="Mattia Volpato" userId="d4750074-1d82-4b06-bea9-f9f846aceec4" providerId="ADAL" clId="{598E0B15-66F7-4D4D-9F75-C859811114CD}" dt="2025-09-17T13:33:08.112" v="5244" actId="113"/>
          <ac:spMkLst>
            <pc:docMk/>
            <pc:sldMk cId="2169029525" sldId="363"/>
            <ac:spMk id="15" creationId="{948C9369-D904-39A5-5C08-C395E2DF01DB}"/>
          </ac:spMkLst>
        </pc:spChg>
      </pc:sldChg>
      <pc:sldChg chg="modSp add mod">
        <pc:chgData name="Mattia Volpato" userId="d4750074-1d82-4b06-bea9-f9f846aceec4" providerId="ADAL" clId="{598E0B15-66F7-4D4D-9F75-C859811114CD}" dt="2025-09-18T20:10:02.832" v="10962" actId="114"/>
        <pc:sldMkLst>
          <pc:docMk/>
          <pc:sldMk cId="2626610180" sldId="364"/>
        </pc:sldMkLst>
        <pc:spChg chg="mod">
          <ac:chgData name="Mattia Volpato" userId="d4750074-1d82-4b06-bea9-f9f846aceec4" providerId="ADAL" clId="{598E0B15-66F7-4D4D-9F75-C859811114CD}" dt="2025-09-18T18:10:50.743" v="8647" actId="20577"/>
          <ac:spMkLst>
            <pc:docMk/>
            <pc:sldMk cId="2626610180" sldId="364"/>
            <ac:spMk id="3" creationId="{7CAF31E4-DB9F-5B2F-7069-053955B02542}"/>
          </ac:spMkLst>
        </pc:spChg>
        <pc:spChg chg="mod">
          <ac:chgData name="Mattia Volpato" userId="d4750074-1d82-4b06-bea9-f9f846aceec4" providerId="ADAL" clId="{598E0B15-66F7-4D4D-9F75-C859811114CD}" dt="2025-09-18T20:10:02.832" v="10962" actId="114"/>
          <ac:spMkLst>
            <pc:docMk/>
            <pc:sldMk cId="2626610180" sldId="364"/>
            <ac:spMk id="6" creationId="{5FA68857-FBCE-7EE8-E18B-9FAE165080EF}"/>
          </ac:spMkLst>
        </pc:spChg>
      </pc:sldChg>
      <pc:sldChg chg="modSp add mod">
        <pc:chgData name="Mattia Volpato" userId="d4750074-1d82-4b06-bea9-f9f846aceec4" providerId="ADAL" clId="{598E0B15-66F7-4D4D-9F75-C859811114CD}" dt="2025-09-18T18:10:57.638" v="8651" actId="20577"/>
        <pc:sldMkLst>
          <pc:docMk/>
          <pc:sldMk cId="2453939964" sldId="365"/>
        </pc:sldMkLst>
        <pc:spChg chg="mod">
          <ac:chgData name="Mattia Volpato" userId="d4750074-1d82-4b06-bea9-f9f846aceec4" providerId="ADAL" clId="{598E0B15-66F7-4D4D-9F75-C859811114CD}" dt="2025-09-18T18:10:57.638" v="8651" actId="20577"/>
          <ac:spMkLst>
            <pc:docMk/>
            <pc:sldMk cId="2453939964" sldId="365"/>
            <ac:spMk id="3" creationId="{A4337C82-9D6F-2F2C-916F-A88A3BA3C28F}"/>
          </ac:spMkLst>
        </pc:spChg>
        <pc:spChg chg="mod">
          <ac:chgData name="Mattia Volpato" userId="d4750074-1d82-4b06-bea9-f9f846aceec4" providerId="ADAL" clId="{598E0B15-66F7-4D4D-9F75-C859811114CD}" dt="2025-09-18T14:46:23.256" v="7155" actId="113"/>
          <ac:spMkLst>
            <pc:docMk/>
            <pc:sldMk cId="2453939964" sldId="365"/>
            <ac:spMk id="6" creationId="{DD2F7D1A-2257-A70B-70E6-974CADA5BE48}"/>
          </ac:spMkLst>
        </pc:spChg>
      </pc:sldChg>
      <pc:sldChg chg="addSp delSp modSp add mod">
        <pc:chgData name="Mattia Volpato" userId="d4750074-1d82-4b06-bea9-f9f846aceec4" providerId="ADAL" clId="{598E0B15-66F7-4D4D-9F75-C859811114CD}" dt="2025-09-18T18:33:19.538" v="9207" actId="20577"/>
        <pc:sldMkLst>
          <pc:docMk/>
          <pc:sldMk cId="1218883514" sldId="366"/>
        </pc:sldMkLst>
        <pc:spChg chg="mod">
          <ac:chgData name="Mattia Volpato" userId="d4750074-1d82-4b06-bea9-f9f846aceec4" providerId="ADAL" clId="{598E0B15-66F7-4D4D-9F75-C859811114CD}" dt="2025-09-18T18:09:11.089" v="8635" actId="20577"/>
          <ac:spMkLst>
            <pc:docMk/>
            <pc:sldMk cId="1218883514" sldId="366"/>
            <ac:spMk id="2" creationId="{16004C87-5E60-58C7-58BF-6FC7CB53FF02}"/>
          </ac:spMkLst>
        </pc:spChg>
        <pc:spChg chg="mod">
          <ac:chgData name="Mattia Volpato" userId="d4750074-1d82-4b06-bea9-f9f846aceec4" providerId="ADAL" clId="{598E0B15-66F7-4D4D-9F75-C859811114CD}" dt="2025-09-18T18:33:19.538" v="9207" actId="20577"/>
          <ac:spMkLst>
            <pc:docMk/>
            <pc:sldMk cId="1218883514" sldId="366"/>
            <ac:spMk id="3" creationId="{936D62E2-7270-F707-11ED-AAE4081A20C2}"/>
          </ac:spMkLst>
        </pc:spChg>
        <pc:spChg chg="del">
          <ac:chgData name="Mattia Volpato" userId="d4750074-1d82-4b06-bea9-f9f846aceec4" providerId="ADAL" clId="{598E0B15-66F7-4D4D-9F75-C859811114CD}" dt="2025-09-18T17:21:09.156" v="7168" actId="478"/>
          <ac:spMkLst>
            <pc:docMk/>
            <pc:sldMk cId="1218883514" sldId="366"/>
            <ac:spMk id="4" creationId="{E5E8C394-415D-679A-ECAD-AA8DBAB4CBE1}"/>
          </ac:spMkLst>
        </pc:spChg>
        <pc:spChg chg="add del mod">
          <ac:chgData name="Mattia Volpato" userId="d4750074-1d82-4b06-bea9-f9f846aceec4" providerId="ADAL" clId="{598E0B15-66F7-4D4D-9F75-C859811114CD}" dt="2025-09-18T17:36:56.745" v="7920" actId="478"/>
          <ac:spMkLst>
            <pc:docMk/>
            <pc:sldMk cId="1218883514" sldId="366"/>
            <ac:spMk id="11" creationId="{1FBAE631-601E-50A9-A87A-5C4F5BDAA617}"/>
          </ac:spMkLst>
        </pc:spChg>
        <pc:spChg chg="add del mod">
          <ac:chgData name="Mattia Volpato" userId="d4750074-1d82-4b06-bea9-f9f846aceec4" providerId="ADAL" clId="{598E0B15-66F7-4D4D-9F75-C859811114CD}" dt="2025-09-18T18:08:51.480" v="8610" actId="478"/>
          <ac:spMkLst>
            <pc:docMk/>
            <pc:sldMk cId="1218883514" sldId="366"/>
            <ac:spMk id="12" creationId="{162EAE1F-F76B-F501-F11E-C14B15211981}"/>
          </ac:spMkLst>
        </pc:spChg>
        <pc:spChg chg="add del mod">
          <ac:chgData name="Mattia Volpato" userId="d4750074-1d82-4b06-bea9-f9f846aceec4" providerId="ADAL" clId="{598E0B15-66F7-4D4D-9F75-C859811114CD}" dt="2025-09-18T18:08:47.870" v="8609" actId="478"/>
          <ac:spMkLst>
            <pc:docMk/>
            <pc:sldMk cId="1218883514" sldId="366"/>
            <ac:spMk id="13" creationId="{3155C278-5798-794D-9FBF-42F0C26E9A82}"/>
          </ac:spMkLst>
        </pc:spChg>
        <pc:spChg chg="add del mod">
          <ac:chgData name="Mattia Volpato" userId="d4750074-1d82-4b06-bea9-f9f846aceec4" providerId="ADAL" clId="{598E0B15-66F7-4D4D-9F75-C859811114CD}" dt="2025-09-18T18:15:43.189" v="8766"/>
          <ac:spMkLst>
            <pc:docMk/>
            <pc:sldMk cId="1218883514" sldId="366"/>
            <ac:spMk id="15" creationId="{2CD35C28-5D9A-EAFE-84BE-5D39B5B2E617}"/>
          </ac:spMkLst>
        </pc:spChg>
        <pc:spChg chg="add del mod">
          <ac:chgData name="Mattia Volpato" userId="d4750074-1d82-4b06-bea9-f9f846aceec4" providerId="ADAL" clId="{598E0B15-66F7-4D4D-9F75-C859811114CD}" dt="2025-09-18T18:14:52.038" v="8749"/>
          <ac:spMkLst>
            <pc:docMk/>
            <pc:sldMk cId="1218883514" sldId="366"/>
            <ac:spMk id="16" creationId="{6707185E-BC18-3E2E-75D7-F1A188E4B8B4}"/>
          </ac:spMkLst>
        </pc:spChg>
        <pc:spChg chg="add mod">
          <ac:chgData name="Mattia Volpato" userId="d4750074-1d82-4b06-bea9-f9f846aceec4" providerId="ADAL" clId="{598E0B15-66F7-4D4D-9F75-C859811114CD}" dt="2025-09-18T18:26:34.388" v="9027" actId="1076"/>
          <ac:spMkLst>
            <pc:docMk/>
            <pc:sldMk cId="1218883514" sldId="366"/>
            <ac:spMk id="17" creationId="{E5DBF48E-1076-47AE-C9F2-2D5B31C5E7FC}"/>
          </ac:spMkLst>
        </pc:spChg>
        <pc:spChg chg="mod">
          <ac:chgData name="Mattia Volpato" userId="d4750074-1d82-4b06-bea9-f9f846aceec4" providerId="ADAL" clId="{598E0B15-66F7-4D4D-9F75-C859811114CD}" dt="2025-09-18T18:24:30.753" v="9008" actId="1076"/>
          <ac:spMkLst>
            <pc:docMk/>
            <pc:sldMk cId="1218883514" sldId="366"/>
            <ac:spMk id="19" creationId="{D73251DE-926F-A7F0-C51D-5E77DF6C3D2D}"/>
          </ac:spMkLst>
        </pc:spChg>
        <pc:spChg chg="del">
          <ac:chgData name="Mattia Volpato" userId="d4750074-1d82-4b06-bea9-f9f846aceec4" providerId="ADAL" clId="{598E0B15-66F7-4D4D-9F75-C859811114CD}" dt="2025-09-18T17:21:10.554" v="7169" actId="478"/>
          <ac:spMkLst>
            <pc:docMk/>
            <pc:sldMk cId="1218883514" sldId="366"/>
            <ac:spMk id="21" creationId="{6939673A-6FA9-82C3-E030-10658B2BCE01}"/>
          </ac:spMkLst>
        </pc:spChg>
        <pc:picChg chg="del">
          <ac:chgData name="Mattia Volpato" userId="d4750074-1d82-4b06-bea9-f9f846aceec4" providerId="ADAL" clId="{598E0B15-66F7-4D4D-9F75-C859811114CD}" dt="2025-09-18T17:21:11.437" v="7170" actId="478"/>
          <ac:picMkLst>
            <pc:docMk/>
            <pc:sldMk cId="1218883514" sldId="366"/>
            <ac:picMk id="5" creationId="{931C7F36-557C-E662-A831-0DDCE894C4C1}"/>
          </ac:picMkLst>
        </pc:picChg>
        <pc:picChg chg="del">
          <ac:chgData name="Mattia Volpato" userId="d4750074-1d82-4b06-bea9-f9f846aceec4" providerId="ADAL" clId="{598E0B15-66F7-4D4D-9F75-C859811114CD}" dt="2025-09-18T17:21:12.264" v="7171" actId="478"/>
          <ac:picMkLst>
            <pc:docMk/>
            <pc:sldMk cId="1218883514" sldId="366"/>
            <ac:picMk id="7" creationId="{AA6BEF70-27A2-A4CE-B8D8-9E828C23B447}"/>
          </ac:picMkLst>
        </pc:picChg>
        <pc:picChg chg="add mod">
          <ac:chgData name="Mattia Volpato" userId="d4750074-1d82-4b06-bea9-f9f846aceec4" providerId="ADAL" clId="{598E0B15-66F7-4D4D-9F75-C859811114CD}" dt="2025-09-18T18:24:27.514" v="9007" actId="1076"/>
          <ac:picMkLst>
            <pc:docMk/>
            <pc:sldMk cId="1218883514" sldId="366"/>
            <ac:picMk id="9" creationId="{DFF3FC5B-9E8A-7DEA-E7FE-9FB41573C50C}"/>
          </ac:picMkLst>
        </pc:picChg>
        <pc:picChg chg="add del mod">
          <ac:chgData name="Mattia Volpato" userId="d4750074-1d82-4b06-bea9-f9f846aceec4" providerId="ADAL" clId="{598E0B15-66F7-4D4D-9F75-C859811114CD}" dt="2025-09-18T17:46:45.826" v="8074" actId="478"/>
          <ac:picMkLst>
            <pc:docMk/>
            <pc:sldMk cId="1218883514" sldId="366"/>
            <ac:picMk id="10" creationId="{4F0151F1-171A-B0D4-8386-D74A9C27F37A}"/>
          </ac:picMkLst>
        </pc:picChg>
      </pc:sldChg>
      <pc:sldChg chg="addSp delSp modSp add del mod">
        <pc:chgData name="Mattia Volpato" userId="d4750074-1d82-4b06-bea9-f9f846aceec4" providerId="ADAL" clId="{598E0B15-66F7-4D4D-9F75-C859811114CD}" dt="2025-09-18T18:33:42.228" v="9214" actId="2696"/>
        <pc:sldMkLst>
          <pc:docMk/>
          <pc:sldMk cId="3604119324" sldId="367"/>
        </pc:sldMkLst>
        <pc:picChg chg="add del mod">
          <ac:chgData name="Mattia Volpato" userId="d4750074-1d82-4b06-bea9-f9f846aceec4" providerId="ADAL" clId="{598E0B15-66F7-4D4D-9F75-C859811114CD}" dt="2025-09-18T17:34:09.750" v="7903" actId="21"/>
          <ac:picMkLst>
            <pc:docMk/>
            <pc:sldMk cId="3604119324" sldId="367"/>
            <ac:picMk id="4" creationId="{4F0151F1-171A-B0D4-8386-D74A9C27F37A}"/>
          </ac:picMkLst>
        </pc:picChg>
        <pc:picChg chg="add del">
          <ac:chgData name="Mattia Volpato" userId="d4750074-1d82-4b06-bea9-f9f846aceec4" providerId="ADAL" clId="{598E0B15-66F7-4D4D-9F75-C859811114CD}" dt="2025-09-18T18:16:59.821" v="8799" actId="21"/>
          <ac:picMkLst>
            <pc:docMk/>
            <pc:sldMk cId="3604119324" sldId="367"/>
            <ac:picMk id="5" creationId="{ACC18557-3922-5C60-33C8-96AFBDAB4624}"/>
          </ac:picMkLst>
        </pc:picChg>
        <pc:picChg chg="del">
          <ac:chgData name="Mattia Volpato" userId="d4750074-1d82-4b06-bea9-f9f846aceec4" providerId="ADAL" clId="{598E0B15-66F7-4D4D-9F75-C859811114CD}" dt="2025-09-18T17:34:05.278" v="7900" actId="478"/>
          <ac:picMkLst>
            <pc:docMk/>
            <pc:sldMk cId="3604119324" sldId="367"/>
            <ac:picMk id="9" creationId="{ACFAD3E8-C684-5269-737B-CACB08EA99A3}"/>
          </ac:picMkLst>
        </pc:picChg>
      </pc:sldChg>
      <pc:sldChg chg="delSp add del mod">
        <pc:chgData name="Mattia Volpato" userId="d4750074-1d82-4b06-bea9-f9f846aceec4" providerId="ADAL" clId="{598E0B15-66F7-4D4D-9F75-C859811114CD}" dt="2025-09-18T18:33:42.228" v="9214" actId="2696"/>
        <pc:sldMkLst>
          <pc:docMk/>
          <pc:sldMk cId="4174519338" sldId="368"/>
        </pc:sldMkLst>
        <pc:picChg chg="del">
          <ac:chgData name="Mattia Volpato" userId="d4750074-1d82-4b06-bea9-f9f846aceec4" providerId="ADAL" clId="{598E0B15-66F7-4D4D-9F75-C859811114CD}" dt="2025-09-18T18:16:50.921" v="8797" actId="21"/>
          <ac:picMkLst>
            <pc:docMk/>
            <pc:sldMk cId="4174519338" sldId="368"/>
            <ac:picMk id="10" creationId="{1C4DD857-D3A9-F77F-8B0D-6C6ED7757270}"/>
          </ac:picMkLst>
        </pc:picChg>
      </pc:sldChg>
      <pc:sldChg chg="addSp delSp modSp add mod ord">
        <pc:chgData name="Mattia Volpato" userId="d4750074-1d82-4b06-bea9-f9f846aceec4" providerId="ADAL" clId="{598E0B15-66F7-4D4D-9F75-C859811114CD}" dt="2025-09-18T20:12:14.960" v="10990" actId="20577"/>
        <pc:sldMkLst>
          <pc:docMk/>
          <pc:sldMk cId="2702556938" sldId="369"/>
        </pc:sldMkLst>
        <pc:spChg chg="mod">
          <ac:chgData name="Mattia Volpato" userId="d4750074-1d82-4b06-bea9-f9f846aceec4" providerId="ADAL" clId="{598E0B15-66F7-4D4D-9F75-C859811114CD}" dt="2025-09-18T18:33:15.303" v="9203" actId="20577"/>
          <ac:spMkLst>
            <pc:docMk/>
            <pc:sldMk cId="2702556938" sldId="369"/>
            <ac:spMk id="3" creationId="{9CFCC872-CF2F-2B4B-3C72-D772CE49F120}"/>
          </ac:spMkLst>
        </pc:spChg>
        <pc:spChg chg="add mod">
          <ac:chgData name="Mattia Volpato" userId="d4750074-1d82-4b06-bea9-f9f846aceec4" providerId="ADAL" clId="{598E0B15-66F7-4D4D-9F75-C859811114CD}" dt="2025-09-18T18:15:48.935" v="8776" actId="1036"/>
          <ac:spMkLst>
            <pc:docMk/>
            <pc:sldMk cId="2702556938" sldId="369"/>
            <ac:spMk id="4" creationId="{5A796EF3-2394-6F1E-1FC0-68E0AEAE698F}"/>
          </ac:spMkLst>
        </pc:spChg>
        <pc:spChg chg="add mod">
          <ac:chgData name="Mattia Volpato" userId="d4750074-1d82-4b06-bea9-f9f846aceec4" providerId="ADAL" clId="{598E0B15-66F7-4D4D-9F75-C859811114CD}" dt="2025-09-18T18:15:14.367" v="8759" actId="114"/>
          <ac:spMkLst>
            <pc:docMk/>
            <pc:sldMk cId="2702556938" sldId="369"/>
            <ac:spMk id="5" creationId="{81A05424-B213-DC0E-7D7C-0C28DDA7031F}"/>
          </ac:spMkLst>
        </pc:spChg>
        <pc:spChg chg="mod">
          <ac:chgData name="Mattia Volpato" userId="d4750074-1d82-4b06-bea9-f9f846aceec4" providerId="ADAL" clId="{598E0B15-66F7-4D4D-9F75-C859811114CD}" dt="2025-09-18T20:12:14.960" v="10990" actId="20577"/>
          <ac:spMkLst>
            <pc:docMk/>
            <pc:sldMk cId="2702556938" sldId="369"/>
            <ac:spMk id="12" creationId="{7EA9D79F-6AB0-7CD7-A3F3-572DA6AF619C}"/>
          </ac:spMkLst>
        </pc:spChg>
        <pc:spChg chg="mod">
          <ac:chgData name="Mattia Volpato" userId="d4750074-1d82-4b06-bea9-f9f846aceec4" providerId="ADAL" clId="{598E0B15-66F7-4D4D-9F75-C859811114CD}" dt="2025-09-18T17:50:21.933" v="8095" actId="1076"/>
          <ac:spMkLst>
            <pc:docMk/>
            <pc:sldMk cId="2702556938" sldId="369"/>
            <ac:spMk id="13" creationId="{FA7FB2D8-B23E-0154-DC1B-672992B49514}"/>
          </ac:spMkLst>
        </pc:spChg>
        <pc:spChg chg="del mod">
          <ac:chgData name="Mattia Volpato" userId="d4750074-1d82-4b06-bea9-f9f846aceec4" providerId="ADAL" clId="{598E0B15-66F7-4D4D-9F75-C859811114CD}" dt="2025-09-18T18:15:18.431" v="8760" actId="478"/>
          <ac:spMkLst>
            <pc:docMk/>
            <pc:sldMk cId="2702556938" sldId="369"/>
            <ac:spMk id="19" creationId="{17A79B67-D917-18CC-C8C2-0152D51C5DCB}"/>
          </ac:spMkLst>
        </pc:spChg>
        <pc:picChg chg="del">
          <ac:chgData name="Mattia Volpato" userId="d4750074-1d82-4b06-bea9-f9f846aceec4" providerId="ADAL" clId="{598E0B15-66F7-4D4D-9F75-C859811114CD}" dt="2025-09-18T17:49:34.045" v="8091" actId="478"/>
          <ac:picMkLst>
            <pc:docMk/>
            <pc:sldMk cId="2702556938" sldId="369"/>
            <ac:picMk id="9" creationId="{A8979335-01E7-05AD-673B-E2EB24261848}"/>
          </ac:picMkLst>
        </pc:picChg>
      </pc:sldChg>
      <pc:sldChg chg="addSp delSp modSp add mod">
        <pc:chgData name="Mattia Volpato" userId="d4750074-1d82-4b06-bea9-f9f846aceec4" providerId="ADAL" clId="{598E0B15-66F7-4D4D-9F75-C859811114CD}" dt="2025-09-18T19:49:21.946" v="10422" actId="1076"/>
        <pc:sldMkLst>
          <pc:docMk/>
          <pc:sldMk cId="2354243287" sldId="370"/>
        </pc:sldMkLst>
        <pc:spChg chg="mod">
          <ac:chgData name="Mattia Volpato" userId="d4750074-1d82-4b06-bea9-f9f846aceec4" providerId="ADAL" clId="{598E0B15-66F7-4D4D-9F75-C859811114CD}" dt="2025-09-18T18:19:42.506" v="8825" actId="20577"/>
          <ac:spMkLst>
            <pc:docMk/>
            <pc:sldMk cId="2354243287" sldId="370"/>
            <ac:spMk id="2" creationId="{D0669F6F-C851-B00A-9F84-AFFA130CA22D}"/>
          </ac:spMkLst>
        </pc:spChg>
        <pc:spChg chg="mod">
          <ac:chgData name="Mattia Volpato" userId="d4750074-1d82-4b06-bea9-f9f846aceec4" providerId="ADAL" clId="{598E0B15-66F7-4D4D-9F75-C859811114CD}" dt="2025-09-18T18:33:25.518" v="9211" actId="20577"/>
          <ac:spMkLst>
            <pc:docMk/>
            <pc:sldMk cId="2354243287" sldId="370"/>
            <ac:spMk id="3" creationId="{1975E955-B754-234C-5F98-D635B2BC24A9}"/>
          </ac:spMkLst>
        </pc:spChg>
        <pc:spChg chg="add mod">
          <ac:chgData name="Mattia Volpato" userId="d4750074-1d82-4b06-bea9-f9f846aceec4" providerId="ADAL" clId="{598E0B15-66F7-4D4D-9F75-C859811114CD}" dt="2025-09-18T18:33:34.806" v="9213" actId="1076"/>
          <ac:spMkLst>
            <pc:docMk/>
            <pc:sldMk cId="2354243287" sldId="370"/>
            <ac:spMk id="4" creationId="{523FE126-9665-0440-84B4-EB8B58C8A08A}"/>
          </ac:spMkLst>
        </pc:spChg>
        <pc:spChg chg="add mod">
          <ac:chgData name="Mattia Volpato" userId="d4750074-1d82-4b06-bea9-f9f846aceec4" providerId="ADAL" clId="{598E0B15-66F7-4D4D-9F75-C859811114CD}" dt="2025-09-18T18:32:35.912" v="9197" actId="113"/>
          <ac:spMkLst>
            <pc:docMk/>
            <pc:sldMk cId="2354243287" sldId="370"/>
            <ac:spMk id="7" creationId="{C905436E-A8BB-E67B-6613-0E780CB49250}"/>
          </ac:spMkLst>
        </pc:spChg>
        <pc:spChg chg="del mod">
          <ac:chgData name="Mattia Volpato" userId="d4750074-1d82-4b06-bea9-f9f846aceec4" providerId="ADAL" clId="{598E0B15-66F7-4D4D-9F75-C859811114CD}" dt="2025-09-18T18:24:53.208" v="9009" actId="21"/>
          <ac:spMkLst>
            <pc:docMk/>
            <pc:sldMk cId="2354243287" sldId="370"/>
            <ac:spMk id="17" creationId="{523FE126-9665-0440-84B4-EB8B58C8A08A}"/>
          </ac:spMkLst>
        </pc:spChg>
        <pc:spChg chg="mod">
          <ac:chgData name="Mattia Volpato" userId="d4750074-1d82-4b06-bea9-f9f846aceec4" providerId="ADAL" clId="{598E0B15-66F7-4D4D-9F75-C859811114CD}" dt="2025-09-18T19:49:17.699" v="10421" actId="20577"/>
          <ac:spMkLst>
            <pc:docMk/>
            <pc:sldMk cId="2354243287" sldId="370"/>
            <ac:spMk id="19" creationId="{77A1586B-B85D-FAD9-25C6-26A71A714163}"/>
          </ac:spMkLst>
        </pc:spChg>
        <pc:picChg chg="add mod">
          <ac:chgData name="Mattia Volpato" userId="d4750074-1d82-4b06-bea9-f9f846aceec4" providerId="ADAL" clId="{598E0B15-66F7-4D4D-9F75-C859811114CD}" dt="2025-09-18T19:49:21.946" v="10422" actId="1076"/>
          <ac:picMkLst>
            <pc:docMk/>
            <pc:sldMk cId="2354243287" sldId="370"/>
            <ac:picMk id="5" creationId="{ACC18557-3922-5C60-33C8-96AFBDAB4624}"/>
          </ac:picMkLst>
        </pc:picChg>
        <pc:picChg chg="mod">
          <ac:chgData name="Mattia Volpato" userId="d4750074-1d82-4b06-bea9-f9f846aceec4" providerId="ADAL" clId="{598E0B15-66F7-4D4D-9F75-C859811114CD}" dt="2025-09-18T18:33:31.955" v="9212" actId="1076"/>
          <ac:picMkLst>
            <pc:docMk/>
            <pc:sldMk cId="2354243287" sldId="370"/>
            <ac:picMk id="9" creationId="{0AA6F78F-CBFF-4F75-1291-29C45C982BC3}"/>
          </ac:picMkLst>
        </pc:picChg>
      </pc:sldChg>
      <pc:sldChg chg="delSp modSp add del mod">
        <pc:chgData name="Mattia Volpato" userId="d4750074-1d82-4b06-bea9-f9f846aceec4" providerId="ADAL" clId="{598E0B15-66F7-4D4D-9F75-C859811114CD}" dt="2025-09-18T19:59:59.167" v="10695" actId="2696"/>
        <pc:sldMkLst>
          <pc:docMk/>
          <pc:sldMk cId="1147401088" sldId="371"/>
        </pc:sldMkLst>
        <pc:spChg chg="mod">
          <ac:chgData name="Mattia Volpato" userId="d4750074-1d82-4b06-bea9-f9f846aceec4" providerId="ADAL" clId="{598E0B15-66F7-4D4D-9F75-C859811114CD}" dt="2025-09-18T19:58:25.939" v="10694" actId="20577"/>
          <ac:spMkLst>
            <pc:docMk/>
            <pc:sldMk cId="1147401088" sldId="371"/>
            <ac:spMk id="3" creationId="{707754F2-0DA2-CE1B-DE82-02E773F54A88}"/>
          </ac:spMkLst>
        </pc:spChg>
        <pc:spChg chg="del mod">
          <ac:chgData name="Mattia Volpato" userId="d4750074-1d82-4b06-bea9-f9f846aceec4" providerId="ADAL" clId="{598E0B15-66F7-4D4D-9F75-C859811114CD}" dt="2025-09-18T19:16:04.067" v="10325" actId="478"/>
          <ac:spMkLst>
            <pc:docMk/>
            <pc:sldMk cId="1147401088" sldId="371"/>
            <ac:spMk id="10" creationId="{91FAFA79-7538-76FC-06DC-FAED4D8852AA}"/>
          </ac:spMkLst>
        </pc:spChg>
        <pc:spChg chg="del">
          <ac:chgData name="Mattia Volpato" userId="d4750074-1d82-4b06-bea9-f9f846aceec4" providerId="ADAL" clId="{598E0B15-66F7-4D4D-9F75-C859811114CD}" dt="2025-09-18T18:48:55.108" v="9709" actId="478"/>
          <ac:spMkLst>
            <pc:docMk/>
            <pc:sldMk cId="1147401088" sldId="371"/>
            <ac:spMk id="11" creationId="{7F334D9C-892C-44E1-2CE9-CA6E766ADC8A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046001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0561243-3352-CAF2-335C-708A4B8174D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1560F10-E789-6A8C-A784-59944190139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D5705AC-61BF-0D9E-D541-06A126EF611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5905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4" Type="http://schemas.openxmlformats.org/officeDocument/2006/relationships/image" Target="../media/image3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.xml"/><Relationship Id="rId4" Type="http://schemas.openxmlformats.org/officeDocument/2006/relationships/image" Target="../media/image3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9.xml"/><Relationship Id="rId4" Type="http://schemas.openxmlformats.org/officeDocument/2006/relationships/image" Target="../media/image3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1.xml"/><Relationship Id="rId4" Type="http://schemas.openxmlformats.org/officeDocument/2006/relationships/image" Target="../media/image3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3.xml"/><Relationship Id="rId4" Type="http://schemas.openxmlformats.org/officeDocument/2006/relationships/image" Target="../media/image3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4.xml"/><Relationship Id="rId4" Type="http://schemas.openxmlformats.org/officeDocument/2006/relationships/image" Target="../media/image3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A9E62E4B-BF97-70EF-9772-0A95A8D0C9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92" y="1191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E62E4B-BF97-70EF-9772-0A95A8D0C9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1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32916" y="3694070"/>
            <a:ext cx="5987034" cy="445497"/>
          </a:xfrm>
        </p:spPr>
        <p:txBody>
          <a:bodyPr>
            <a:normAutofit/>
          </a:bodyPr>
          <a:lstStyle>
            <a:lvl1pPr marL="0" indent="0" algn="l">
              <a:buNone/>
              <a:defRPr sz="150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232916" y="1897560"/>
            <a:ext cx="5987034" cy="1693640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 algn="l">
              <a:defRPr sz="285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EED0CD4A-C167-C03D-FE7E-7A04D7F2341D}"/>
              </a:ext>
            </a:extLst>
          </p:cNvPr>
          <p:cNvSpPr/>
          <p:nvPr userDrawn="1"/>
        </p:nvSpPr>
        <p:spPr>
          <a:xfrm>
            <a:off x="3029578" y="1612923"/>
            <a:ext cx="205740" cy="2057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5DB9F141-A770-D09D-FF25-51A4C30E1F6A}"/>
              </a:ext>
            </a:extLst>
          </p:cNvPr>
          <p:cNvSpPr/>
          <p:nvPr userDrawn="1"/>
        </p:nvSpPr>
        <p:spPr>
          <a:xfrm>
            <a:off x="708089" y="2308247"/>
            <a:ext cx="205740" cy="2057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61BC2A2C-68D6-9928-E8F6-51C6FBE496C9}"/>
              </a:ext>
            </a:extLst>
          </p:cNvPr>
          <p:cNvSpPr/>
          <p:nvPr userDrawn="1"/>
        </p:nvSpPr>
        <p:spPr>
          <a:xfrm>
            <a:off x="5778179" y="4178618"/>
            <a:ext cx="205740" cy="2057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56774545-8CA4-0234-9C28-6D5FE7FA9DA7}"/>
              </a:ext>
            </a:extLst>
          </p:cNvPr>
          <p:cNvSpPr/>
          <p:nvPr userDrawn="1"/>
        </p:nvSpPr>
        <p:spPr>
          <a:xfrm>
            <a:off x="8859554" y="3497126"/>
            <a:ext cx="205740" cy="2057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6" name="Slide Number Placeholder 20">
            <a:extLst>
              <a:ext uri="{FF2B5EF4-FFF2-40B4-BE49-F238E27FC236}">
                <a16:creationId xmlns:a16="http://schemas.microsoft.com/office/drawing/2014/main" id="{8F4631FC-738A-EA52-E171-FCA96CD1AF4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6741414" y="4899946"/>
            <a:ext cx="2057400" cy="194142"/>
          </a:xfrm>
        </p:spPr>
        <p:txBody>
          <a:bodyPr/>
          <a:lstStyle/>
          <a:p>
            <a:fld id="{0122C274-3D99-4A24-ADE9-DD3F36DBA1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538789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F4D7CEC-F1C0-EC3F-ED76-363EB15280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92" y="1191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F4D7CEC-F1C0-EC3F-ED76-363EB1528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1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2900" y="1380173"/>
            <a:ext cx="8455914" cy="3252549"/>
          </a:xfrm>
        </p:spPr>
        <p:txBody>
          <a:bodyPr>
            <a:normAutofit/>
          </a:bodyPr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4A7CC33A-95C4-503A-96EC-57278D0ADC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900" y="411480"/>
            <a:ext cx="8455914" cy="370332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451CB42C-524F-DEFC-AF2C-D6EFAB7F3BF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42900" y="255536"/>
            <a:ext cx="8455819" cy="152400"/>
          </a:xfrm>
        </p:spPr>
        <p:txBody>
          <a:bodyPr vert="horz" lIns="0" tIns="0" rIns="91440" bIns="0" rtlCol="0" anchor="ctr">
            <a:normAutofit/>
          </a:bodyPr>
          <a:lstStyle>
            <a:lvl1pPr>
              <a:defRPr lang="en-US" sz="825" cap="all">
                <a:solidFill>
                  <a:schemeClr val="accent1"/>
                </a:solidFill>
                <a:latin typeface="Aptos" panose="020B0004020202020204" pitchFamily="34" charset="0"/>
              </a:defRPr>
            </a:lvl1pPr>
          </a:lstStyle>
          <a:p>
            <a:pPr marL="0" lvl="0" indent="0">
              <a:buNone/>
            </a:pPr>
            <a:r>
              <a:rPr lang="en-US" dirty="0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E04637A1-BBA6-9046-A634-F8ADD8056BC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42900" y="782241"/>
            <a:ext cx="8455819" cy="463153"/>
          </a:xfrm>
        </p:spPr>
        <p:txBody>
          <a:bodyPr lIns="45720" tIns="91440" rIns="45720"/>
          <a:lstStyle>
            <a:lvl1pPr marL="0" indent="0">
              <a:buNone/>
              <a:defRPr/>
            </a:lvl1pPr>
            <a:lvl2pPr marL="3429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603D18F9-3BC3-1841-2E1B-1E3C053CC37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0122C274-3D99-4A24-ADE9-DD3F36DBA1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913845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F4D7CEC-F1C0-EC3F-ED76-363EB15280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92" y="1191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F4D7CEC-F1C0-EC3F-ED76-363EB1528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1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2900" y="1380173"/>
            <a:ext cx="8455914" cy="3252549"/>
          </a:xfrm>
        </p:spPr>
        <p:txBody>
          <a:bodyPr>
            <a:normAutofit/>
          </a:bodyPr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4A7CC33A-95C4-503A-96EC-57278D0ADC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900" y="411480"/>
            <a:ext cx="8455914" cy="370332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451CB42C-524F-DEFC-AF2C-D6EFAB7F3BF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42900" y="255536"/>
            <a:ext cx="8455819" cy="152400"/>
          </a:xfrm>
        </p:spPr>
        <p:txBody>
          <a:bodyPr vert="horz" lIns="0" tIns="0" rIns="91440" bIns="0" rtlCol="0" anchor="ctr">
            <a:normAutofit/>
          </a:bodyPr>
          <a:lstStyle>
            <a:lvl1pPr>
              <a:defRPr lang="en-US" sz="825" cap="all">
                <a:solidFill>
                  <a:schemeClr val="accent1"/>
                </a:solidFill>
                <a:latin typeface="Aptos" panose="020B0004020202020204" pitchFamily="34" charset="0"/>
              </a:defRPr>
            </a:lvl1pPr>
          </a:lstStyle>
          <a:p>
            <a:pPr marL="0" lvl="0" indent="0">
              <a:buNone/>
            </a:pPr>
            <a:r>
              <a:rPr lang="en-US" dirty="0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E04637A1-BBA6-9046-A634-F8ADD8056BC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42900" y="782241"/>
            <a:ext cx="8455819" cy="463153"/>
          </a:xfrm>
        </p:spPr>
        <p:txBody>
          <a:bodyPr lIns="45720" tIns="91440" rIns="45720"/>
          <a:lstStyle>
            <a:lvl1pPr marL="0" indent="0">
              <a:buNone/>
              <a:defRPr/>
            </a:lvl1pPr>
            <a:lvl2pPr marL="3429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603D18F9-3BC3-1841-2E1B-1E3C053CC37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0122C274-3D99-4A24-ADE9-DD3F36DBA1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913845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F4D7CEC-F1C0-EC3F-ED76-363EB15280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92" y="1191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F4D7CEC-F1C0-EC3F-ED76-363EB1528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1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2900" y="1380173"/>
            <a:ext cx="8455914" cy="3252549"/>
          </a:xfrm>
        </p:spPr>
        <p:txBody>
          <a:bodyPr>
            <a:normAutofit/>
          </a:bodyPr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4A7CC33A-95C4-503A-96EC-57278D0ADC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900" y="411480"/>
            <a:ext cx="8455914" cy="370332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451CB42C-524F-DEFC-AF2C-D6EFAB7F3BF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42900" y="255536"/>
            <a:ext cx="8455819" cy="152400"/>
          </a:xfrm>
        </p:spPr>
        <p:txBody>
          <a:bodyPr vert="horz" lIns="0" tIns="0" rIns="91440" bIns="0" rtlCol="0" anchor="ctr">
            <a:normAutofit/>
          </a:bodyPr>
          <a:lstStyle>
            <a:lvl1pPr>
              <a:defRPr lang="en-US" sz="825" cap="all">
                <a:solidFill>
                  <a:schemeClr val="accent1"/>
                </a:solidFill>
                <a:latin typeface="Aptos" panose="020B0004020202020204" pitchFamily="34" charset="0"/>
              </a:defRPr>
            </a:lvl1pPr>
          </a:lstStyle>
          <a:p>
            <a:pPr marL="0" lvl="0" indent="0">
              <a:buNone/>
            </a:pPr>
            <a:r>
              <a:rPr lang="en-US" dirty="0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E04637A1-BBA6-9046-A634-F8ADD8056BC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42900" y="782241"/>
            <a:ext cx="8455819" cy="463153"/>
          </a:xfrm>
        </p:spPr>
        <p:txBody>
          <a:bodyPr lIns="45720" tIns="91440" rIns="45720"/>
          <a:lstStyle>
            <a:lvl1pPr marL="0" indent="0">
              <a:buNone/>
              <a:defRPr/>
            </a:lvl1pPr>
            <a:lvl2pPr marL="3429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603D18F9-3BC3-1841-2E1B-1E3C053CC37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0122C274-3D99-4A24-ADE9-DD3F36DBA1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913845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F4D7CEC-F1C0-EC3F-ED76-363EB15280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92" y="1191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F4D7CEC-F1C0-EC3F-ED76-363EB1528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1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2900" y="1380173"/>
            <a:ext cx="8455914" cy="3252549"/>
          </a:xfrm>
        </p:spPr>
        <p:txBody>
          <a:bodyPr>
            <a:normAutofit/>
          </a:bodyPr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4A7CC33A-95C4-503A-96EC-57278D0ADC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900" y="411480"/>
            <a:ext cx="8455914" cy="370332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451CB42C-524F-DEFC-AF2C-D6EFAB7F3BF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42900" y="255536"/>
            <a:ext cx="8455819" cy="152400"/>
          </a:xfrm>
        </p:spPr>
        <p:txBody>
          <a:bodyPr vert="horz" lIns="0" tIns="0" rIns="91440" bIns="0" rtlCol="0" anchor="ctr">
            <a:normAutofit/>
          </a:bodyPr>
          <a:lstStyle>
            <a:lvl1pPr>
              <a:defRPr lang="en-US" sz="825" cap="all">
                <a:solidFill>
                  <a:schemeClr val="accent1"/>
                </a:solidFill>
                <a:latin typeface="Aptos" panose="020B0004020202020204" pitchFamily="34" charset="0"/>
              </a:defRPr>
            </a:lvl1pPr>
          </a:lstStyle>
          <a:p>
            <a:pPr marL="0" lvl="0" indent="0">
              <a:buNone/>
            </a:pPr>
            <a:r>
              <a:rPr lang="en-US" dirty="0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E04637A1-BBA6-9046-A634-F8ADD8056BC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42900" y="782241"/>
            <a:ext cx="8455819" cy="463153"/>
          </a:xfrm>
        </p:spPr>
        <p:txBody>
          <a:bodyPr lIns="45720" tIns="91440" rIns="45720"/>
          <a:lstStyle>
            <a:lvl1pPr marL="0" indent="0">
              <a:buNone/>
              <a:defRPr/>
            </a:lvl1pPr>
            <a:lvl2pPr marL="3429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603D18F9-3BC3-1841-2E1B-1E3C053CC37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0122C274-3D99-4A24-ADE9-DD3F36DBA1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913845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F4D7CEC-F1C0-EC3F-ED76-363EB15280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92" y="1191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F4D7CEC-F1C0-EC3F-ED76-363EB1528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1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2900" y="1380173"/>
            <a:ext cx="8455914" cy="3252549"/>
          </a:xfrm>
        </p:spPr>
        <p:txBody>
          <a:bodyPr>
            <a:normAutofit/>
          </a:bodyPr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4A7CC33A-95C4-503A-96EC-57278D0ADC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900" y="411480"/>
            <a:ext cx="8455914" cy="370332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451CB42C-524F-DEFC-AF2C-D6EFAB7F3BF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42900" y="255536"/>
            <a:ext cx="8455819" cy="152400"/>
          </a:xfrm>
        </p:spPr>
        <p:txBody>
          <a:bodyPr vert="horz" lIns="0" tIns="0" rIns="91440" bIns="0" rtlCol="0" anchor="ctr">
            <a:normAutofit/>
          </a:bodyPr>
          <a:lstStyle>
            <a:lvl1pPr>
              <a:defRPr lang="en-US" sz="825" cap="all">
                <a:solidFill>
                  <a:schemeClr val="accent1"/>
                </a:solidFill>
                <a:latin typeface="Aptos" panose="020B0004020202020204" pitchFamily="34" charset="0"/>
              </a:defRPr>
            </a:lvl1pPr>
          </a:lstStyle>
          <a:p>
            <a:pPr marL="0" lvl="0" indent="0">
              <a:buNone/>
            </a:pPr>
            <a:r>
              <a:rPr lang="en-US" dirty="0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E04637A1-BBA6-9046-A634-F8ADD8056BC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42900" y="782241"/>
            <a:ext cx="8455819" cy="463153"/>
          </a:xfrm>
        </p:spPr>
        <p:txBody>
          <a:bodyPr lIns="45720" tIns="91440" rIns="45720"/>
          <a:lstStyle>
            <a:lvl1pPr marL="0" indent="0">
              <a:buNone/>
              <a:defRPr/>
            </a:lvl1pPr>
            <a:lvl2pPr marL="3429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603D18F9-3BC3-1841-2E1B-1E3C053CC37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0122C274-3D99-4A24-ADE9-DD3F36DBA1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913845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-Sec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42900"/>
            <a:ext cx="8229600" cy="59436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876096"/>
            <a:ext cx="1981962" cy="281782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539746" y="1876096"/>
            <a:ext cx="1981962" cy="281782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1, test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AD4B2D-25FF-0B46-98A4-87FBB723E472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350EAC16-3B86-317F-2CED-01BEFE8BFE5A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457200" y="1059181"/>
            <a:ext cx="1981962" cy="710237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buNone/>
              <a:defRPr sz="1650" b="1">
                <a:latin typeface="+mj-lt"/>
              </a:defRPr>
            </a:lvl1pPr>
            <a:lvl2pPr marL="342884" indent="0">
              <a:buNone/>
              <a:defRPr sz="1500" b="1"/>
            </a:lvl2pPr>
            <a:lvl3pPr marL="685766" indent="0">
              <a:buNone/>
              <a:defRPr sz="1350" b="1"/>
            </a:lvl3pPr>
            <a:lvl4pPr marL="1028649" indent="0">
              <a:buNone/>
              <a:defRPr sz="1200" b="1"/>
            </a:lvl4pPr>
            <a:lvl5pPr marL="1371532" indent="0">
              <a:buNone/>
              <a:defRPr sz="1200" b="1"/>
            </a:lvl5pPr>
            <a:lvl6pPr marL="1714415" indent="0">
              <a:buNone/>
              <a:defRPr sz="1200" b="1"/>
            </a:lvl6pPr>
            <a:lvl7pPr marL="2057297" indent="0">
              <a:buNone/>
              <a:defRPr sz="1200" b="1"/>
            </a:lvl7pPr>
            <a:lvl8pPr marL="2400180" indent="0">
              <a:buNone/>
              <a:defRPr sz="1200" b="1"/>
            </a:lvl8pPr>
            <a:lvl9pPr marL="2743064" indent="0">
              <a:buNone/>
              <a:defRPr sz="12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1EA0600A-89E3-8CAB-4C19-49198C79214D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2539746" y="1059181"/>
            <a:ext cx="1981962" cy="710237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buNone/>
              <a:defRPr sz="1650" b="1">
                <a:latin typeface="+mj-lt"/>
              </a:defRPr>
            </a:lvl1pPr>
            <a:lvl2pPr marL="342884" indent="0">
              <a:buNone/>
              <a:defRPr sz="1500" b="1"/>
            </a:lvl2pPr>
            <a:lvl3pPr marL="685766" indent="0">
              <a:buNone/>
              <a:defRPr sz="1350" b="1"/>
            </a:lvl3pPr>
            <a:lvl4pPr marL="1028649" indent="0">
              <a:buNone/>
              <a:defRPr sz="1200" b="1"/>
            </a:lvl4pPr>
            <a:lvl5pPr marL="1371532" indent="0">
              <a:buNone/>
              <a:defRPr sz="1200" b="1"/>
            </a:lvl5pPr>
            <a:lvl6pPr marL="1714415" indent="0">
              <a:buNone/>
              <a:defRPr sz="1200" b="1"/>
            </a:lvl6pPr>
            <a:lvl7pPr marL="2057297" indent="0">
              <a:buNone/>
              <a:defRPr sz="1200" b="1"/>
            </a:lvl7pPr>
            <a:lvl8pPr marL="2400180" indent="0">
              <a:buNone/>
              <a:defRPr sz="1200" b="1"/>
            </a:lvl8pPr>
            <a:lvl9pPr marL="2743064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F690ACF7-A408-80E0-A25E-8A9F74C3F2B6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4622292" y="1876096"/>
            <a:ext cx="1981962" cy="281782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FDEA59C2-DB92-D43E-C415-F2F3982923E1}"/>
              </a:ext>
            </a:extLst>
          </p:cNvPr>
          <p:cNvSpPr>
            <a:spLocks noGrp="1"/>
          </p:cNvSpPr>
          <p:nvPr>
            <p:ph sz="half" idx="17"/>
          </p:nvPr>
        </p:nvSpPr>
        <p:spPr>
          <a:xfrm>
            <a:off x="6704838" y="1877674"/>
            <a:ext cx="1981962" cy="281782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CB1781E3-ED60-E5E7-C672-6460D334A22A}"/>
              </a:ext>
            </a:extLst>
          </p:cNvPr>
          <p:cNvSpPr>
            <a:spLocks noGrp="1"/>
          </p:cNvSpPr>
          <p:nvPr>
            <p:ph type="body" idx="18"/>
          </p:nvPr>
        </p:nvSpPr>
        <p:spPr>
          <a:xfrm>
            <a:off x="4622292" y="1059181"/>
            <a:ext cx="1981962" cy="710237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buNone/>
              <a:defRPr sz="1650" b="1">
                <a:latin typeface="+mj-lt"/>
              </a:defRPr>
            </a:lvl1pPr>
            <a:lvl2pPr marL="342884" indent="0">
              <a:buNone/>
              <a:defRPr sz="1500" b="1"/>
            </a:lvl2pPr>
            <a:lvl3pPr marL="685766" indent="0">
              <a:buNone/>
              <a:defRPr sz="1350" b="1"/>
            </a:lvl3pPr>
            <a:lvl4pPr marL="1028649" indent="0">
              <a:buNone/>
              <a:defRPr sz="1200" b="1"/>
            </a:lvl4pPr>
            <a:lvl5pPr marL="1371532" indent="0">
              <a:buNone/>
              <a:defRPr sz="1200" b="1"/>
            </a:lvl5pPr>
            <a:lvl6pPr marL="1714415" indent="0">
              <a:buNone/>
              <a:defRPr sz="1200" b="1"/>
            </a:lvl6pPr>
            <a:lvl7pPr marL="2057297" indent="0">
              <a:buNone/>
              <a:defRPr sz="1200" b="1"/>
            </a:lvl7pPr>
            <a:lvl8pPr marL="2400180" indent="0">
              <a:buNone/>
              <a:defRPr sz="1200" b="1"/>
            </a:lvl8pPr>
            <a:lvl9pPr marL="2743064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B5BF9F1-DF69-2318-71B1-9FBF8A1100A0}"/>
              </a:ext>
            </a:extLst>
          </p:cNvPr>
          <p:cNvSpPr>
            <a:spLocks noGrp="1"/>
          </p:cNvSpPr>
          <p:nvPr>
            <p:ph type="body" idx="19"/>
          </p:nvPr>
        </p:nvSpPr>
        <p:spPr>
          <a:xfrm>
            <a:off x="6704838" y="1059181"/>
            <a:ext cx="1981962" cy="710237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buNone/>
              <a:defRPr sz="1650" b="1">
                <a:latin typeface="+mj-lt"/>
              </a:defRPr>
            </a:lvl1pPr>
            <a:lvl2pPr marL="342884" indent="0">
              <a:buNone/>
              <a:defRPr sz="1500" b="1"/>
            </a:lvl2pPr>
            <a:lvl3pPr marL="685766" indent="0">
              <a:buNone/>
              <a:defRPr sz="1350" b="1"/>
            </a:lvl3pPr>
            <a:lvl4pPr marL="1028649" indent="0">
              <a:buNone/>
              <a:defRPr sz="1200" b="1"/>
            </a:lvl4pPr>
            <a:lvl5pPr marL="1371532" indent="0">
              <a:buNone/>
              <a:defRPr sz="1200" b="1"/>
            </a:lvl5pPr>
            <a:lvl6pPr marL="1714415" indent="0">
              <a:buNone/>
              <a:defRPr sz="1200" b="1"/>
            </a:lvl6pPr>
            <a:lvl7pPr marL="2057297" indent="0">
              <a:buNone/>
              <a:defRPr sz="1200" b="1"/>
            </a:lvl7pPr>
            <a:lvl8pPr marL="2400180" indent="0">
              <a:buNone/>
              <a:defRPr sz="1200" b="1"/>
            </a:lvl8pPr>
            <a:lvl9pPr marL="2743064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405552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F4D7CEC-F1C0-EC3F-ED76-363EB15280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92" y="1191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F4D7CEC-F1C0-EC3F-ED76-363EB1528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1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2900" y="1380173"/>
            <a:ext cx="8455914" cy="3252549"/>
          </a:xfrm>
        </p:spPr>
        <p:txBody>
          <a:bodyPr>
            <a:normAutofit/>
          </a:bodyPr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4A7CC33A-95C4-503A-96EC-57278D0ADC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900" y="411480"/>
            <a:ext cx="8455914" cy="370332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451CB42C-524F-DEFC-AF2C-D6EFAB7F3BF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42900" y="255536"/>
            <a:ext cx="8455819" cy="152400"/>
          </a:xfrm>
        </p:spPr>
        <p:txBody>
          <a:bodyPr vert="horz" lIns="0" tIns="0" rIns="91440" bIns="0" rtlCol="0" anchor="ctr">
            <a:normAutofit/>
          </a:bodyPr>
          <a:lstStyle>
            <a:lvl1pPr>
              <a:defRPr lang="en-US" sz="825" cap="all">
                <a:solidFill>
                  <a:schemeClr val="accent1"/>
                </a:solidFill>
                <a:latin typeface="Aptos" panose="020B0004020202020204" pitchFamily="34" charset="0"/>
              </a:defRPr>
            </a:lvl1pPr>
          </a:lstStyle>
          <a:p>
            <a:pPr marL="0" lvl="0" indent="0">
              <a:buNone/>
            </a:pPr>
            <a:r>
              <a:rPr lang="en-US" dirty="0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E04637A1-BBA6-9046-A634-F8ADD8056BC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42900" y="782241"/>
            <a:ext cx="8455819" cy="463153"/>
          </a:xfrm>
        </p:spPr>
        <p:txBody>
          <a:bodyPr lIns="45720" tIns="91440" rIns="45720"/>
          <a:lstStyle>
            <a:lvl1pPr marL="0" indent="0">
              <a:buNone/>
              <a:defRPr/>
            </a:lvl1pPr>
            <a:lvl2pPr marL="3429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603D18F9-3BC3-1841-2E1B-1E3C053CC37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0122C274-3D99-4A24-ADE9-DD3F36DBA1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49904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oleObject" Target="../embeddings/oleObject1.bin"/><Relationship Id="rId5" Type="http://schemas.openxmlformats.org/officeDocument/2006/relationships/tags" Target="../tags/tag12.xml"/><Relationship Id="rId4" Type="http://schemas.openxmlformats.org/officeDocument/2006/relationships/theme" Target="../theme/theme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17">
            <a:extLst>
              <a:ext uri="{FF2B5EF4-FFF2-40B4-BE49-F238E27FC236}">
                <a16:creationId xmlns:a16="http://schemas.microsoft.com/office/drawing/2014/main" id="{9D5DCAE4-308E-0CE1-5983-C3126AD7DA33}"/>
              </a:ext>
            </a:extLst>
          </p:cNvPr>
          <p:cNvSpPr txBox="1">
            <a:spLocks/>
          </p:cNvSpPr>
          <p:nvPr userDrawn="1"/>
        </p:nvSpPr>
        <p:spPr>
          <a:xfrm>
            <a:off x="3027557" y="4899945"/>
            <a:ext cx="3086100" cy="194143"/>
          </a:xfrm>
          <a:prstGeom prst="rect">
            <a:avLst/>
          </a:prstGeom>
          <a:ln>
            <a:noFill/>
          </a:ln>
        </p:spPr>
        <p:txBody>
          <a:bodyPr vert="horz" lIns="34290" tIns="34290" rIns="34290" bIns="3429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750" dirty="0">
                <a:solidFill>
                  <a:schemeClr val="tx2">
                    <a:alpha val="50000"/>
                  </a:schemeClr>
                </a:solidFill>
              </a:rPr>
              <a:t>CONFIDENTIAL | DRAFT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3F3B2520-722D-E664-5E92-1E0293A499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192" y="1191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3B2520-722D-E664-5E92-1E0293A499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1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42900" y="411480"/>
            <a:ext cx="8455914" cy="370332"/>
          </a:xfrm>
          <a:prstGeom prst="rect">
            <a:avLst/>
          </a:prstGeom>
        </p:spPr>
        <p:txBody>
          <a:bodyPr vert="horz" lIns="0" tIns="45720" rIns="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2900" y="1457325"/>
            <a:ext cx="8455914" cy="317539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D54F4112-2266-CB99-BE28-A630BFC479D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741414" y="4899946"/>
            <a:ext cx="2057400" cy="194142"/>
          </a:xfrm>
          <a:prstGeom prst="rect">
            <a:avLst/>
          </a:prstGeom>
          <a:ln>
            <a:noFill/>
          </a:ln>
        </p:spPr>
        <p:txBody>
          <a:bodyPr vert="horz" lIns="45720" tIns="45720" rIns="45720" bIns="45720" rtlCol="0" anchor="ctr"/>
          <a:lstStyle>
            <a:lvl1pPr algn="r">
              <a:defRPr sz="750">
                <a:solidFill>
                  <a:schemeClr val="tx2">
                    <a:alpha val="50000"/>
                  </a:schemeClr>
                </a:solidFill>
              </a:defRPr>
            </a:lvl1pPr>
          </a:lstStyle>
          <a:p>
            <a:fld id="{0122C274-3D99-4A24-ADE9-DD3F36DBA14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17">
            <a:extLst>
              <a:ext uri="{FF2B5EF4-FFF2-40B4-BE49-F238E27FC236}">
                <a16:creationId xmlns:a16="http://schemas.microsoft.com/office/drawing/2014/main" id="{FDB8E3CE-7117-C359-1BE9-6114324E49D4}"/>
              </a:ext>
            </a:extLst>
          </p:cNvPr>
          <p:cNvSpPr txBox="1">
            <a:spLocks/>
          </p:cNvSpPr>
          <p:nvPr userDrawn="1"/>
        </p:nvSpPr>
        <p:spPr>
          <a:xfrm>
            <a:off x="342900" y="4899945"/>
            <a:ext cx="2719552" cy="194143"/>
          </a:xfrm>
          <a:prstGeom prst="rect">
            <a:avLst/>
          </a:prstGeom>
          <a:ln>
            <a:noFill/>
          </a:ln>
        </p:spPr>
        <p:txBody>
          <a:bodyPr vert="horz" lIns="34290" tIns="34290" rIns="34290" bIns="3429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750" dirty="0">
                <a:solidFill>
                  <a:schemeClr val="tx2">
                    <a:alpha val="50000"/>
                  </a:schemeClr>
                </a:solidFill>
              </a:rPr>
              <a:t>© Copyright 2025</a:t>
            </a:r>
          </a:p>
        </p:txBody>
      </p:sp>
    </p:spTree>
    <p:extLst>
      <p:ext uri="{BB962C8B-B14F-4D97-AF65-F5344CB8AC3E}">
        <p14:creationId xmlns:p14="http://schemas.microsoft.com/office/powerpoint/2010/main" val="24609540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600" b="0" kern="1200" spc="0" baseline="0">
          <a:solidFill>
            <a:schemeClr val="tx1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" userDrawn="1">
          <p15:clr>
            <a:srgbClr val="F26B43"/>
          </p15:clr>
        </p15:guide>
        <p15:guide id="2" pos="162" userDrawn="1">
          <p15:clr>
            <a:srgbClr val="F26B43"/>
          </p15:clr>
        </p15:guide>
        <p15:guide id="3" pos="5598" userDrawn="1">
          <p15:clr>
            <a:srgbClr val="F26B43"/>
          </p15:clr>
        </p15:guide>
        <p15:guide id="4" pos="216" userDrawn="1">
          <p15:clr>
            <a:srgbClr val="F26B43"/>
          </p15:clr>
        </p15:guide>
        <p15:guide id="5" pos="5544" userDrawn="1">
          <p15:clr>
            <a:srgbClr val="F26B43"/>
          </p15:clr>
        </p15:guide>
        <p15:guide id="6" orient="horz" pos="3078" userDrawn="1">
          <p15:clr>
            <a:srgbClr val="F26B43"/>
          </p15:clr>
        </p15:guide>
        <p15:guide id="7" orient="horz" pos="3024" userDrawn="1">
          <p15:clr>
            <a:srgbClr val="F26B43"/>
          </p15:clr>
        </p15:guide>
        <p15:guide id="8" pos="1998" userDrawn="1">
          <p15:clr>
            <a:srgbClr val="F26B43"/>
          </p15:clr>
        </p15:guide>
        <p15:guide id="9" pos="3762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17">
            <a:extLst>
              <a:ext uri="{FF2B5EF4-FFF2-40B4-BE49-F238E27FC236}">
                <a16:creationId xmlns:a16="http://schemas.microsoft.com/office/drawing/2014/main" id="{9D5DCAE4-308E-0CE1-5983-C3126AD7DA33}"/>
              </a:ext>
            </a:extLst>
          </p:cNvPr>
          <p:cNvSpPr txBox="1">
            <a:spLocks/>
          </p:cNvSpPr>
          <p:nvPr userDrawn="1"/>
        </p:nvSpPr>
        <p:spPr>
          <a:xfrm>
            <a:off x="3027557" y="4899945"/>
            <a:ext cx="3086100" cy="194143"/>
          </a:xfrm>
          <a:prstGeom prst="rect">
            <a:avLst/>
          </a:prstGeom>
          <a:ln>
            <a:noFill/>
          </a:ln>
        </p:spPr>
        <p:txBody>
          <a:bodyPr vert="horz" lIns="34290" tIns="34290" rIns="34290" bIns="3429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750" dirty="0">
                <a:solidFill>
                  <a:schemeClr val="tx2">
                    <a:alpha val="50000"/>
                  </a:schemeClr>
                </a:solidFill>
              </a:rPr>
              <a:t>CONFIDENTIAL | DRAFT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3F3B2520-722D-E664-5E92-1E0293A499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192" y="1191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3B2520-722D-E664-5E92-1E0293A499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1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42900" y="411480"/>
            <a:ext cx="8455914" cy="370332"/>
          </a:xfrm>
          <a:prstGeom prst="rect">
            <a:avLst/>
          </a:prstGeom>
        </p:spPr>
        <p:txBody>
          <a:bodyPr vert="horz" lIns="0" tIns="45720" rIns="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2900" y="1457325"/>
            <a:ext cx="8455914" cy="317539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D54F4112-2266-CB99-BE28-A630BFC479D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741414" y="4899946"/>
            <a:ext cx="2057400" cy="194142"/>
          </a:xfrm>
          <a:prstGeom prst="rect">
            <a:avLst/>
          </a:prstGeom>
          <a:ln>
            <a:noFill/>
          </a:ln>
        </p:spPr>
        <p:txBody>
          <a:bodyPr vert="horz" lIns="45720" tIns="45720" rIns="45720" bIns="45720" rtlCol="0" anchor="ctr"/>
          <a:lstStyle>
            <a:lvl1pPr algn="r">
              <a:defRPr sz="750">
                <a:solidFill>
                  <a:schemeClr val="tx2">
                    <a:alpha val="50000"/>
                  </a:schemeClr>
                </a:solidFill>
              </a:defRPr>
            </a:lvl1pPr>
          </a:lstStyle>
          <a:p>
            <a:fld id="{0122C274-3D99-4A24-ADE9-DD3F36DBA14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17">
            <a:extLst>
              <a:ext uri="{FF2B5EF4-FFF2-40B4-BE49-F238E27FC236}">
                <a16:creationId xmlns:a16="http://schemas.microsoft.com/office/drawing/2014/main" id="{FDB8E3CE-7117-C359-1BE9-6114324E49D4}"/>
              </a:ext>
            </a:extLst>
          </p:cNvPr>
          <p:cNvSpPr txBox="1">
            <a:spLocks/>
          </p:cNvSpPr>
          <p:nvPr userDrawn="1"/>
        </p:nvSpPr>
        <p:spPr>
          <a:xfrm>
            <a:off x="342900" y="4899945"/>
            <a:ext cx="2719552" cy="194143"/>
          </a:xfrm>
          <a:prstGeom prst="rect">
            <a:avLst/>
          </a:prstGeom>
          <a:ln>
            <a:noFill/>
          </a:ln>
        </p:spPr>
        <p:txBody>
          <a:bodyPr vert="horz" lIns="34290" tIns="34290" rIns="34290" bIns="3429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750" dirty="0">
                <a:solidFill>
                  <a:schemeClr val="tx2">
                    <a:alpha val="50000"/>
                  </a:schemeClr>
                </a:solidFill>
              </a:rPr>
              <a:t>© Copyright 2025</a:t>
            </a:r>
          </a:p>
        </p:txBody>
      </p:sp>
    </p:spTree>
    <p:extLst>
      <p:ext uri="{BB962C8B-B14F-4D97-AF65-F5344CB8AC3E}">
        <p14:creationId xmlns:p14="http://schemas.microsoft.com/office/powerpoint/2010/main" val="24609540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600" b="0" kern="1200" spc="0" baseline="0">
          <a:solidFill>
            <a:schemeClr val="tx1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" userDrawn="1">
          <p15:clr>
            <a:srgbClr val="F26B43"/>
          </p15:clr>
        </p15:guide>
        <p15:guide id="2" pos="162" userDrawn="1">
          <p15:clr>
            <a:srgbClr val="F26B43"/>
          </p15:clr>
        </p15:guide>
        <p15:guide id="3" pos="5598" userDrawn="1">
          <p15:clr>
            <a:srgbClr val="F26B43"/>
          </p15:clr>
        </p15:guide>
        <p15:guide id="4" pos="216" userDrawn="1">
          <p15:clr>
            <a:srgbClr val="F26B43"/>
          </p15:clr>
        </p15:guide>
        <p15:guide id="5" pos="5544" userDrawn="1">
          <p15:clr>
            <a:srgbClr val="F26B43"/>
          </p15:clr>
        </p15:guide>
        <p15:guide id="6" orient="horz" pos="3078" userDrawn="1">
          <p15:clr>
            <a:srgbClr val="F26B43"/>
          </p15:clr>
        </p15:guide>
        <p15:guide id="7" orient="horz" pos="3024" userDrawn="1">
          <p15:clr>
            <a:srgbClr val="F26B43"/>
          </p15:clr>
        </p15:guide>
        <p15:guide id="8" pos="1998" userDrawn="1">
          <p15:clr>
            <a:srgbClr val="F26B43"/>
          </p15:clr>
        </p15:guide>
        <p15:guide id="9" pos="3762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17">
            <a:extLst>
              <a:ext uri="{FF2B5EF4-FFF2-40B4-BE49-F238E27FC236}">
                <a16:creationId xmlns:a16="http://schemas.microsoft.com/office/drawing/2014/main" id="{9D5DCAE4-308E-0CE1-5983-C3126AD7DA33}"/>
              </a:ext>
            </a:extLst>
          </p:cNvPr>
          <p:cNvSpPr txBox="1">
            <a:spLocks/>
          </p:cNvSpPr>
          <p:nvPr userDrawn="1"/>
        </p:nvSpPr>
        <p:spPr>
          <a:xfrm>
            <a:off x="3027557" y="4899945"/>
            <a:ext cx="3086100" cy="194143"/>
          </a:xfrm>
          <a:prstGeom prst="rect">
            <a:avLst/>
          </a:prstGeom>
          <a:ln>
            <a:noFill/>
          </a:ln>
        </p:spPr>
        <p:txBody>
          <a:bodyPr vert="horz" lIns="34290" tIns="34290" rIns="34290" bIns="3429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750" dirty="0">
                <a:solidFill>
                  <a:schemeClr val="tx2">
                    <a:alpha val="50000"/>
                  </a:schemeClr>
                </a:solidFill>
              </a:rPr>
              <a:t>CONFIDENTIAL | DRAFT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3F3B2520-722D-E664-5E92-1E0293A499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192" y="1191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3B2520-722D-E664-5E92-1E0293A499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1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42900" y="411480"/>
            <a:ext cx="8455914" cy="370332"/>
          </a:xfrm>
          <a:prstGeom prst="rect">
            <a:avLst/>
          </a:prstGeom>
        </p:spPr>
        <p:txBody>
          <a:bodyPr vert="horz" lIns="0" tIns="45720" rIns="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2900" y="1457325"/>
            <a:ext cx="8455914" cy="317539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D54F4112-2266-CB99-BE28-A630BFC479D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741414" y="4899946"/>
            <a:ext cx="2057400" cy="194142"/>
          </a:xfrm>
          <a:prstGeom prst="rect">
            <a:avLst/>
          </a:prstGeom>
          <a:ln>
            <a:noFill/>
          </a:ln>
        </p:spPr>
        <p:txBody>
          <a:bodyPr vert="horz" lIns="45720" tIns="45720" rIns="45720" bIns="45720" rtlCol="0" anchor="ctr"/>
          <a:lstStyle>
            <a:lvl1pPr algn="r">
              <a:defRPr sz="750">
                <a:solidFill>
                  <a:schemeClr val="tx2">
                    <a:alpha val="50000"/>
                  </a:schemeClr>
                </a:solidFill>
              </a:defRPr>
            </a:lvl1pPr>
          </a:lstStyle>
          <a:p>
            <a:fld id="{0122C274-3D99-4A24-ADE9-DD3F36DBA14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17">
            <a:extLst>
              <a:ext uri="{FF2B5EF4-FFF2-40B4-BE49-F238E27FC236}">
                <a16:creationId xmlns:a16="http://schemas.microsoft.com/office/drawing/2014/main" id="{FDB8E3CE-7117-C359-1BE9-6114324E49D4}"/>
              </a:ext>
            </a:extLst>
          </p:cNvPr>
          <p:cNvSpPr txBox="1">
            <a:spLocks/>
          </p:cNvSpPr>
          <p:nvPr userDrawn="1"/>
        </p:nvSpPr>
        <p:spPr>
          <a:xfrm>
            <a:off x="342900" y="4899945"/>
            <a:ext cx="2719552" cy="194143"/>
          </a:xfrm>
          <a:prstGeom prst="rect">
            <a:avLst/>
          </a:prstGeom>
          <a:ln>
            <a:noFill/>
          </a:ln>
        </p:spPr>
        <p:txBody>
          <a:bodyPr vert="horz" lIns="34290" tIns="34290" rIns="34290" bIns="3429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750" dirty="0">
                <a:solidFill>
                  <a:schemeClr val="tx2">
                    <a:alpha val="50000"/>
                  </a:schemeClr>
                </a:solidFill>
              </a:rPr>
              <a:t>© Copyright 2025</a:t>
            </a:r>
          </a:p>
        </p:txBody>
      </p:sp>
    </p:spTree>
    <p:extLst>
      <p:ext uri="{BB962C8B-B14F-4D97-AF65-F5344CB8AC3E}">
        <p14:creationId xmlns:p14="http://schemas.microsoft.com/office/powerpoint/2010/main" val="24609540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600" b="0" kern="1200" spc="0" baseline="0">
          <a:solidFill>
            <a:schemeClr val="tx1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" userDrawn="1">
          <p15:clr>
            <a:srgbClr val="F26B43"/>
          </p15:clr>
        </p15:guide>
        <p15:guide id="2" pos="162" userDrawn="1">
          <p15:clr>
            <a:srgbClr val="F26B43"/>
          </p15:clr>
        </p15:guide>
        <p15:guide id="3" pos="5598" userDrawn="1">
          <p15:clr>
            <a:srgbClr val="F26B43"/>
          </p15:clr>
        </p15:guide>
        <p15:guide id="4" pos="216" userDrawn="1">
          <p15:clr>
            <a:srgbClr val="F26B43"/>
          </p15:clr>
        </p15:guide>
        <p15:guide id="5" pos="5544" userDrawn="1">
          <p15:clr>
            <a:srgbClr val="F26B43"/>
          </p15:clr>
        </p15:guide>
        <p15:guide id="6" orient="horz" pos="3078" userDrawn="1">
          <p15:clr>
            <a:srgbClr val="F26B43"/>
          </p15:clr>
        </p15:guide>
        <p15:guide id="7" orient="horz" pos="3024" userDrawn="1">
          <p15:clr>
            <a:srgbClr val="F26B43"/>
          </p15:clr>
        </p15:guide>
        <p15:guide id="8" pos="1998" userDrawn="1">
          <p15:clr>
            <a:srgbClr val="F26B43"/>
          </p15:clr>
        </p15:guide>
        <p15:guide id="9" pos="3762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17">
            <a:extLst>
              <a:ext uri="{FF2B5EF4-FFF2-40B4-BE49-F238E27FC236}">
                <a16:creationId xmlns:a16="http://schemas.microsoft.com/office/drawing/2014/main" id="{9D5DCAE4-308E-0CE1-5983-C3126AD7DA33}"/>
              </a:ext>
            </a:extLst>
          </p:cNvPr>
          <p:cNvSpPr txBox="1">
            <a:spLocks/>
          </p:cNvSpPr>
          <p:nvPr userDrawn="1"/>
        </p:nvSpPr>
        <p:spPr>
          <a:xfrm>
            <a:off x="3027557" y="4899945"/>
            <a:ext cx="3086100" cy="194143"/>
          </a:xfrm>
          <a:prstGeom prst="rect">
            <a:avLst/>
          </a:prstGeom>
          <a:ln>
            <a:noFill/>
          </a:ln>
        </p:spPr>
        <p:txBody>
          <a:bodyPr vert="horz" lIns="34290" tIns="34290" rIns="34290" bIns="3429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750" dirty="0">
                <a:solidFill>
                  <a:schemeClr val="tx2">
                    <a:alpha val="50000"/>
                  </a:schemeClr>
                </a:solidFill>
              </a:rPr>
              <a:t>CONFIDENTIAL | DRAFT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3F3B2520-722D-E664-5E92-1E0293A499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192" y="1191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3B2520-722D-E664-5E92-1E0293A499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1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42900" y="411480"/>
            <a:ext cx="8455914" cy="370332"/>
          </a:xfrm>
          <a:prstGeom prst="rect">
            <a:avLst/>
          </a:prstGeom>
        </p:spPr>
        <p:txBody>
          <a:bodyPr vert="horz" lIns="0" tIns="45720" rIns="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2900" y="1457325"/>
            <a:ext cx="8455914" cy="317539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D54F4112-2266-CB99-BE28-A630BFC479D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741414" y="4899946"/>
            <a:ext cx="2057400" cy="194142"/>
          </a:xfrm>
          <a:prstGeom prst="rect">
            <a:avLst/>
          </a:prstGeom>
          <a:ln>
            <a:noFill/>
          </a:ln>
        </p:spPr>
        <p:txBody>
          <a:bodyPr vert="horz" lIns="45720" tIns="45720" rIns="45720" bIns="45720" rtlCol="0" anchor="ctr"/>
          <a:lstStyle>
            <a:lvl1pPr algn="r">
              <a:defRPr sz="750">
                <a:solidFill>
                  <a:schemeClr val="tx2">
                    <a:alpha val="50000"/>
                  </a:schemeClr>
                </a:solidFill>
              </a:defRPr>
            </a:lvl1pPr>
          </a:lstStyle>
          <a:p>
            <a:fld id="{0122C274-3D99-4A24-ADE9-DD3F36DBA14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17">
            <a:extLst>
              <a:ext uri="{FF2B5EF4-FFF2-40B4-BE49-F238E27FC236}">
                <a16:creationId xmlns:a16="http://schemas.microsoft.com/office/drawing/2014/main" id="{FDB8E3CE-7117-C359-1BE9-6114324E49D4}"/>
              </a:ext>
            </a:extLst>
          </p:cNvPr>
          <p:cNvSpPr txBox="1">
            <a:spLocks/>
          </p:cNvSpPr>
          <p:nvPr userDrawn="1"/>
        </p:nvSpPr>
        <p:spPr>
          <a:xfrm>
            <a:off x="342900" y="4899945"/>
            <a:ext cx="2719552" cy="194143"/>
          </a:xfrm>
          <a:prstGeom prst="rect">
            <a:avLst/>
          </a:prstGeom>
          <a:ln>
            <a:noFill/>
          </a:ln>
        </p:spPr>
        <p:txBody>
          <a:bodyPr vert="horz" lIns="34290" tIns="34290" rIns="34290" bIns="3429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750" dirty="0">
                <a:solidFill>
                  <a:schemeClr val="tx2">
                    <a:alpha val="50000"/>
                  </a:schemeClr>
                </a:solidFill>
              </a:rPr>
              <a:t>© Copyright 2025</a:t>
            </a:r>
          </a:p>
        </p:txBody>
      </p:sp>
    </p:spTree>
    <p:extLst>
      <p:ext uri="{BB962C8B-B14F-4D97-AF65-F5344CB8AC3E}">
        <p14:creationId xmlns:p14="http://schemas.microsoft.com/office/powerpoint/2010/main" val="24609540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600" b="0" kern="1200" spc="0" baseline="0">
          <a:solidFill>
            <a:schemeClr val="tx1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" userDrawn="1">
          <p15:clr>
            <a:srgbClr val="F26B43"/>
          </p15:clr>
        </p15:guide>
        <p15:guide id="2" pos="162" userDrawn="1">
          <p15:clr>
            <a:srgbClr val="F26B43"/>
          </p15:clr>
        </p15:guide>
        <p15:guide id="3" pos="5598" userDrawn="1">
          <p15:clr>
            <a:srgbClr val="F26B43"/>
          </p15:clr>
        </p15:guide>
        <p15:guide id="4" pos="216" userDrawn="1">
          <p15:clr>
            <a:srgbClr val="F26B43"/>
          </p15:clr>
        </p15:guide>
        <p15:guide id="5" pos="5544" userDrawn="1">
          <p15:clr>
            <a:srgbClr val="F26B43"/>
          </p15:clr>
        </p15:guide>
        <p15:guide id="6" orient="horz" pos="3078" userDrawn="1">
          <p15:clr>
            <a:srgbClr val="F26B43"/>
          </p15:clr>
        </p15:guide>
        <p15:guide id="7" orient="horz" pos="3024" userDrawn="1">
          <p15:clr>
            <a:srgbClr val="F26B43"/>
          </p15:clr>
        </p15:guide>
        <p15:guide id="8" pos="1998" userDrawn="1">
          <p15:clr>
            <a:srgbClr val="F26B43"/>
          </p15:clr>
        </p15:guide>
        <p15:guide id="9" pos="3762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17">
            <a:extLst>
              <a:ext uri="{FF2B5EF4-FFF2-40B4-BE49-F238E27FC236}">
                <a16:creationId xmlns:a16="http://schemas.microsoft.com/office/drawing/2014/main" id="{9D5DCAE4-308E-0CE1-5983-C3126AD7DA33}"/>
              </a:ext>
            </a:extLst>
          </p:cNvPr>
          <p:cNvSpPr txBox="1">
            <a:spLocks/>
          </p:cNvSpPr>
          <p:nvPr userDrawn="1"/>
        </p:nvSpPr>
        <p:spPr>
          <a:xfrm>
            <a:off x="3027557" y="4899945"/>
            <a:ext cx="3086100" cy="194143"/>
          </a:xfrm>
          <a:prstGeom prst="rect">
            <a:avLst/>
          </a:prstGeom>
          <a:ln>
            <a:noFill/>
          </a:ln>
        </p:spPr>
        <p:txBody>
          <a:bodyPr vert="horz" lIns="34290" tIns="34290" rIns="34290" bIns="3429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750" dirty="0">
                <a:solidFill>
                  <a:schemeClr val="tx2">
                    <a:alpha val="50000"/>
                  </a:schemeClr>
                </a:solidFill>
              </a:rPr>
              <a:t>CONFIDENTIAL | DRAFT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3F3B2520-722D-E664-5E92-1E0293A499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192" y="1191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3B2520-722D-E664-5E92-1E0293A499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1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42900" y="411480"/>
            <a:ext cx="8455914" cy="370332"/>
          </a:xfrm>
          <a:prstGeom prst="rect">
            <a:avLst/>
          </a:prstGeom>
        </p:spPr>
        <p:txBody>
          <a:bodyPr vert="horz" lIns="0" tIns="45720" rIns="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2900" y="1457325"/>
            <a:ext cx="8455914" cy="317539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D54F4112-2266-CB99-BE28-A630BFC479D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741414" y="4899946"/>
            <a:ext cx="2057400" cy="194142"/>
          </a:xfrm>
          <a:prstGeom prst="rect">
            <a:avLst/>
          </a:prstGeom>
          <a:ln>
            <a:noFill/>
          </a:ln>
        </p:spPr>
        <p:txBody>
          <a:bodyPr vert="horz" lIns="45720" tIns="45720" rIns="45720" bIns="45720" rtlCol="0" anchor="ctr"/>
          <a:lstStyle>
            <a:lvl1pPr algn="r">
              <a:defRPr sz="750">
                <a:solidFill>
                  <a:schemeClr val="tx2">
                    <a:alpha val="50000"/>
                  </a:schemeClr>
                </a:solidFill>
              </a:defRPr>
            </a:lvl1pPr>
          </a:lstStyle>
          <a:p>
            <a:fld id="{0122C274-3D99-4A24-ADE9-DD3F36DBA14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17">
            <a:extLst>
              <a:ext uri="{FF2B5EF4-FFF2-40B4-BE49-F238E27FC236}">
                <a16:creationId xmlns:a16="http://schemas.microsoft.com/office/drawing/2014/main" id="{FDB8E3CE-7117-C359-1BE9-6114324E49D4}"/>
              </a:ext>
            </a:extLst>
          </p:cNvPr>
          <p:cNvSpPr txBox="1">
            <a:spLocks/>
          </p:cNvSpPr>
          <p:nvPr userDrawn="1"/>
        </p:nvSpPr>
        <p:spPr>
          <a:xfrm>
            <a:off x="342900" y="4899945"/>
            <a:ext cx="2719552" cy="194143"/>
          </a:xfrm>
          <a:prstGeom prst="rect">
            <a:avLst/>
          </a:prstGeom>
          <a:ln>
            <a:noFill/>
          </a:ln>
        </p:spPr>
        <p:txBody>
          <a:bodyPr vert="horz" lIns="34290" tIns="34290" rIns="34290" bIns="3429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750" dirty="0">
                <a:solidFill>
                  <a:schemeClr val="tx2">
                    <a:alpha val="50000"/>
                  </a:schemeClr>
                </a:solidFill>
              </a:rPr>
              <a:t>© Copyright 2025</a:t>
            </a:r>
          </a:p>
        </p:txBody>
      </p:sp>
    </p:spTree>
    <p:extLst>
      <p:ext uri="{BB962C8B-B14F-4D97-AF65-F5344CB8AC3E}">
        <p14:creationId xmlns:p14="http://schemas.microsoft.com/office/powerpoint/2010/main" val="24609540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600" b="0" kern="1200" spc="0" baseline="0">
          <a:solidFill>
            <a:schemeClr val="tx1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" userDrawn="1">
          <p15:clr>
            <a:srgbClr val="F26B43"/>
          </p15:clr>
        </p15:guide>
        <p15:guide id="2" pos="162" userDrawn="1">
          <p15:clr>
            <a:srgbClr val="F26B43"/>
          </p15:clr>
        </p15:guide>
        <p15:guide id="3" pos="5598" userDrawn="1">
          <p15:clr>
            <a:srgbClr val="F26B43"/>
          </p15:clr>
        </p15:guide>
        <p15:guide id="4" pos="216" userDrawn="1">
          <p15:clr>
            <a:srgbClr val="F26B43"/>
          </p15:clr>
        </p15:guide>
        <p15:guide id="5" pos="5544" userDrawn="1">
          <p15:clr>
            <a:srgbClr val="F26B43"/>
          </p15:clr>
        </p15:guide>
        <p15:guide id="6" orient="horz" pos="3078" userDrawn="1">
          <p15:clr>
            <a:srgbClr val="F26B43"/>
          </p15:clr>
        </p15:guide>
        <p15:guide id="7" orient="horz" pos="3024" userDrawn="1">
          <p15:clr>
            <a:srgbClr val="F26B43"/>
          </p15:clr>
        </p15:guide>
        <p15:guide id="8" pos="1998" userDrawn="1">
          <p15:clr>
            <a:srgbClr val="F26B43"/>
          </p15:clr>
        </p15:guide>
        <p15:guide id="9" pos="3762" userDrawn="1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17">
            <a:extLst>
              <a:ext uri="{FF2B5EF4-FFF2-40B4-BE49-F238E27FC236}">
                <a16:creationId xmlns:a16="http://schemas.microsoft.com/office/drawing/2014/main" id="{9D5DCAE4-308E-0CE1-5983-C3126AD7DA33}"/>
              </a:ext>
            </a:extLst>
          </p:cNvPr>
          <p:cNvSpPr txBox="1">
            <a:spLocks/>
          </p:cNvSpPr>
          <p:nvPr userDrawn="1"/>
        </p:nvSpPr>
        <p:spPr>
          <a:xfrm>
            <a:off x="3027557" y="4899945"/>
            <a:ext cx="3086100" cy="194143"/>
          </a:xfrm>
          <a:prstGeom prst="rect">
            <a:avLst/>
          </a:prstGeom>
          <a:ln>
            <a:noFill/>
          </a:ln>
        </p:spPr>
        <p:txBody>
          <a:bodyPr vert="horz" lIns="34290" tIns="34290" rIns="34290" bIns="3429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750" dirty="0">
                <a:solidFill>
                  <a:schemeClr val="tx2">
                    <a:alpha val="50000"/>
                  </a:schemeClr>
                </a:solidFill>
              </a:rPr>
              <a:t>CONFIDENTIAL | DRAFT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3F3B2520-722D-E664-5E92-1E0293A499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</p:nvPr>
        </p:nvGraphicFramePr>
        <p:xfrm>
          <a:off x="1192" y="1191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3B2520-722D-E664-5E92-1E0293A499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191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42900" y="411480"/>
            <a:ext cx="8455914" cy="370332"/>
          </a:xfrm>
          <a:prstGeom prst="rect">
            <a:avLst/>
          </a:prstGeom>
        </p:spPr>
        <p:txBody>
          <a:bodyPr vert="horz" lIns="0" tIns="45720" rIns="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2900" y="1457325"/>
            <a:ext cx="8455914" cy="317539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D54F4112-2266-CB99-BE28-A630BFC479D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741414" y="4899946"/>
            <a:ext cx="2057400" cy="194142"/>
          </a:xfrm>
          <a:prstGeom prst="rect">
            <a:avLst/>
          </a:prstGeom>
          <a:ln>
            <a:noFill/>
          </a:ln>
        </p:spPr>
        <p:txBody>
          <a:bodyPr vert="horz" lIns="45720" tIns="45720" rIns="45720" bIns="45720" rtlCol="0" anchor="ctr"/>
          <a:lstStyle>
            <a:lvl1pPr algn="r">
              <a:defRPr sz="750">
                <a:solidFill>
                  <a:schemeClr val="tx2">
                    <a:alpha val="50000"/>
                  </a:schemeClr>
                </a:solidFill>
              </a:defRPr>
            </a:lvl1pPr>
          </a:lstStyle>
          <a:p>
            <a:fld id="{0122C274-3D99-4A24-ADE9-DD3F36DBA14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17">
            <a:extLst>
              <a:ext uri="{FF2B5EF4-FFF2-40B4-BE49-F238E27FC236}">
                <a16:creationId xmlns:a16="http://schemas.microsoft.com/office/drawing/2014/main" id="{FDB8E3CE-7117-C359-1BE9-6114324E49D4}"/>
              </a:ext>
            </a:extLst>
          </p:cNvPr>
          <p:cNvSpPr txBox="1">
            <a:spLocks/>
          </p:cNvSpPr>
          <p:nvPr userDrawn="1"/>
        </p:nvSpPr>
        <p:spPr>
          <a:xfrm>
            <a:off x="342900" y="4899945"/>
            <a:ext cx="2719552" cy="194143"/>
          </a:xfrm>
          <a:prstGeom prst="rect">
            <a:avLst/>
          </a:prstGeom>
          <a:ln>
            <a:noFill/>
          </a:ln>
        </p:spPr>
        <p:txBody>
          <a:bodyPr vert="horz" lIns="34290" tIns="34290" rIns="34290" bIns="3429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750" dirty="0">
                <a:solidFill>
                  <a:schemeClr val="tx2">
                    <a:alpha val="50000"/>
                  </a:schemeClr>
                </a:solidFill>
              </a:rPr>
              <a:t>© Copyright 2025</a:t>
            </a:r>
          </a:p>
        </p:txBody>
      </p:sp>
    </p:spTree>
    <p:extLst>
      <p:ext uri="{BB962C8B-B14F-4D97-AF65-F5344CB8AC3E}">
        <p14:creationId xmlns:p14="http://schemas.microsoft.com/office/powerpoint/2010/main" val="24609540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9" r:id="rId2"/>
    <p:sldLayoutId id="2147483708" r:id="rId3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600" b="0" kern="1200" spc="0" baseline="0">
          <a:solidFill>
            <a:schemeClr val="tx1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" userDrawn="1">
          <p15:clr>
            <a:srgbClr val="F26B43"/>
          </p15:clr>
        </p15:guide>
        <p15:guide id="2" pos="162" userDrawn="1">
          <p15:clr>
            <a:srgbClr val="F26B43"/>
          </p15:clr>
        </p15:guide>
        <p15:guide id="3" pos="5598" userDrawn="1">
          <p15:clr>
            <a:srgbClr val="F26B43"/>
          </p15:clr>
        </p15:guide>
        <p15:guide id="4" pos="216" userDrawn="1">
          <p15:clr>
            <a:srgbClr val="F26B43"/>
          </p15:clr>
        </p15:guide>
        <p15:guide id="5" pos="5544" userDrawn="1">
          <p15:clr>
            <a:srgbClr val="F26B43"/>
          </p15:clr>
        </p15:guide>
        <p15:guide id="6" orient="horz" pos="3078" userDrawn="1">
          <p15:clr>
            <a:srgbClr val="F26B43"/>
          </p15:clr>
        </p15:guide>
        <p15:guide id="7" orient="horz" pos="3024" userDrawn="1">
          <p15:clr>
            <a:srgbClr val="F26B43"/>
          </p15:clr>
        </p15:guide>
        <p15:guide id="8" pos="1998" userDrawn="1">
          <p15:clr>
            <a:srgbClr val="F26B43"/>
          </p15:clr>
        </p15:guide>
        <p15:guide id="9" pos="376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17.xml"/><Relationship Id="rId7" Type="http://schemas.openxmlformats.org/officeDocument/2006/relationships/oleObject" Target="../embeddings/oleObject4.bin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19.xml"/><Relationship Id="rId4" Type="http://schemas.openxmlformats.org/officeDocument/2006/relationships/tags" Target="../tags/tag18.xml"/><Relationship Id="rId9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83.xml"/><Relationship Id="rId13" Type="http://schemas.openxmlformats.org/officeDocument/2006/relationships/tags" Target="../tags/tag88.xml"/><Relationship Id="rId18" Type="http://schemas.openxmlformats.org/officeDocument/2006/relationships/image" Target="../media/image20.png"/><Relationship Id="rId3" Type="http://schemas.openxmlformats.org/officeDocument/2006/relationships/tags" Target="../tags/tag78.xml"/><Relationship Id="rId7" Type="http://schemas.openxmlformats.org/officeDocument/2006/relationships/tags" Target="../tags/tag82.xml"/><Relationship Id="rId12" Type="http://schemas.openxmlformats.org/officeDocument/2006/relationships/tags" Target="../tags/tag87.xml"/><Relationship Id="rId17" Type="http://schemas.openxmlformats.org/officeDocument/2006/relationships/image" Target="../media/image19.png"/><Relationship Id="rId2" Type="http://schemas.openxmlformats.org/officeDocument/2006/relationships/tags" Target="../tags/tag77.xml"/><Relationship Id="rId16" Type="http://schemas.openxmlformats.org/officeDocument/2006/relationships/image" Target="../media/image18.png"/><Relationship Id="rId1" Type="http://schemas.openxmlformats.org/officeDocument/2006/relationships/tags" Target="../tags/tag76.xml"/><Relationship Id="rId6" Type="http://schemas.openxmlformats.org/officeDocument/2006/relationships/tags" Target="../tags/tag81.xml"/><Relationship Id="rId11" Type="http://schemas.openxmlformats.org/officeDocument/2006/relationships/tags" Target="../tags/tag86.xml"/><Relationship Id="rId5" Type="http://schemas.openxmlformats.org/officeDocument/2006/relationships/tags" Target="../tags/tag80.xml"/><Relationship Id="rId15" Type="http://schemas.openxmlformats.org/officeDocument/2006/relationships/image" Target="../media/image17.png"/><Relationship Id="rId10" Type="http://schemas.openxmlformats.org/officeDocument/2006/relationships/tags" Target="../tags/tag85.xml"/><Relationship Id="rId19" Type="http://schemas.openxmlformats.org/officeDocument/2006/relationships/image" Target="../media/image21.png"/><Relationship Id="rId4" Type="http://schemas.openxmlformats.org/officeDocument/2006/relationships/tags" Target="../tags/tag79.xml"/><Relationship Id="rId9" Type="http://schemas.openxmlformats.org/officeDocument/2006/relationships/tags" Target="../tags/tag84.xml"/><Relationship Id="rId14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96.xml"/><Relationship Id="rId13" Type="http://schemas.openxmlformats.org/officeDocument/2006/relationships/image" Target="../media/image22.emf"/><Relationship Id="rId3" Type="http://schemas.openxmlformats.org/officeDocument/2006/relationships/tags" Target="../tags/tag91.xml"/><Relationship Id="rId7" Type="http://schemas.openxmlformats.org/officeDocument/2006/relationships/tags" Target="../tags/tag95.xml"/><Relationship Id="rId12" Type="http://schemas.openxmlformats.org/officeDocument/2006/relationships/oleObject" Target="../embeddings/oleObject9.bin"/><Relationship Id="rId17" Type="http://schemas.openxmlformats.org/officeDocument/2006/relationships/image" Target="../media/image25.png"/><Relationship Id="rId2" Type="http://schemas.openxmlformats.org/officeDocument/2006/relationships/tags" Target="../tags/tag90.xml"/><Relationship Id="rId16" Type="http://schemas.openxmlformats.org/officeDocument/2006/relationships/image" Target="../media/image24.png"/><Relationship Id="rId1" Type="http://schemas.openxmlformats.org/officeDocument/2006/relationships/tags" Target="../tags/tag89.xml"/><Relationship Id="rId6" Type="http://schemas.openxmlformats.org/officeDocument/2006/relationships/tags" Target="../tags/tag94.xml"/><Relationship Id="rId11" Type="http://schemas.openxmlformats.org/officeDocument/2006/relationships/slideLayout" Target="../slideLayouts/slideLayout2.xml"/><Relationship Id="rId5" Type="http://schemas.openxmlformats.org/officeDocument/2006/relationships/tags" Target="../tags/tag93.xml"/><Relationship Id="rId15" Type="http://schemas.openxmlformats.org/officeDocument/2006/relationships/image" Target="../media/image23.png"/><Relationship Id="rId10" Type="http://schemas.openxmlformats.org/officeDocument/2006/relationships/tags" Target="../tags/tag98.xml"/><Relationship Id="rId4" Type="http://schemas.openxmlformats.org/officeDocument/2006/relationships/tags" Target="../tags/tag92.xml"/><Relationship Id="rId9" Type="http://schemas.openxmlformats.org/officeDocument/2006/relationships/tags" Target="../tags/tag97.xml"/><Relationship Id="rId14" Type="http://schemas.openxmlformats.org/officeDocument/2006/relationships/tags" Target="../tags/tag940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106.xml"/><Relationship Id="rId13" Type="http://schemas.openxmlformats.org/officeDocument/2006/relationships/tags" Target="../tags/tag1030.xml"/><Relationship Id="rId3" Type="http://schemas.openxmlformats.org/officeDocument/2006/relationships/tags" Target="../tags/tag101.xml"/><Relationship Id="rId7" Type="http://schemas.openxmlformats.org/officeDocument/2006/relationships/tags" Target="../tags/tag105.xml"/><Relationship Id="rId12" Type="http://schemas.openxmlformats.org/officeDocument/2006/relationships/image" Target="../media/image26.emf"/><Relationship Id="rId2" Type="http://schemas.openxmlformats.org/officeDocument/2006/relationships/tags" Target="../tags/tag100.xml"/><Relationship Id="rId1" Type="http://schemas.openxmlformats.org/officeDocument/2006/relationships/tags" Target="../tags/tag99.xml"/><Relationship Id="rId6" Type="http://schemas.openxmlformats.org/officeDocument/2006/relationships/tags" Target="../tags/tag104.xml"/><Relationship Id="rId11" Type="http://schemas.openxmlformats.org/officeDocument/2006/relationships/oleObject" Target="../embeddings/oleObject10.bin"/><Relationship Id="rId5" Type="http://schemas.openxmlformats.org/officeDocument/2006/relationships/tags" Target="../tags/tag103.xml"/><Relationship Id="rId10" Type="http://schemas.openxmlformats.org/officeDocument/2006/relationships/slideLayout" Target="../slideLayouts/slideLayout2.xml"/><Relationship Id="rId4" Type="http://schemas.openxmlformats.org/officeDocument/2006/relationships/tags" Target="../tags/tag102.xml"/><Relationship Id="rId9" Type="http://schemas.openxmlformats.org/officeDocument/2006/relationships/tags" Target="../tags/tag107.xml"/><Relationship Id="rId14" Type="http://schemas.openxmlformats.org/officeDocument/2006/relationships/image" Target="../media/image27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115.xml"/><Relationship Id="rId13" Type="http://schemas.openxmlformats.org/officeDocument/2006/relationships/tags" Target="../tags/tag1120.xml"/><Relationship Id="rId3" Type="http://schemas.openxmlformats.org/officeDocument/2006/relationships/tags" Target="../tags/tag110.xml"/><Relationship Id="rId7" Type="http://schemas.openxmlformats.org/officeDocument/2006/relationships/tags" Target="../tags/tag114.xml"/><Relationship Id="rId12" Type="http://schemas.openxmlformats.org/officeDocument/2006/relationships/image" Target="../media/image26.emf"/><Relationship Id="rId2" Type="http://schemas.openxmlformats.org/officeDocument/2006/relationships/tags" Target="../tags/tag109.xml"/><Relationship Id="rId1" Type="http://schemas.openxmlformats.org/officeDocument/2006/relationships/tags" Target="../tags/tag108.xml"/><Relationship Id="rId6" Type="http://schemas.openxmlformats.org/officeDocument/2006/relationships/tags" Target="../tags/tag113.xml"/><Relationship Id="rId11" Type="http://schemas.openxmlformats.org/officeDocument/2006/relationships/oleObject" Target="../embeddings/oleObject10.bin"/><Relationship Id="rId5" Type="http://schemas.openxmlformats.org/officeDocument/2006/relationships/tags" Target="../tags/tag112.xml"/><Relationship Id="rId10" Type="http://schemas.openxmlformats.org/officeDocument/2006/relationships/slideLayout" Target="../slideLayouts/slideLayout2.xml"/><Relationship Id="rId4" Type="http://schemas.openxmlformats.org/officeDocument/2006/relationships/tags" Target="../tags/tag111.xml"/><Relationship Id="rId9" Type="http://schemas.openxmlformats.org/officeDocument/2006/relationships/tags" Target="../tags/tag116.xml"/><Relationship Id="rId14" Type="http://schemas.openxmlformats.org/officeDocument/2006/relationships/image" Target="../media/image28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124.xml"/><Relationship Id="rId13" Type="http://schemas.openxmlformats.org/officeDocument/2006/relationships/tags" Target="../tags/tag1210.xml"/><Relationship Id="rId3" Type="http://schemas.openxmlformats.org/officeDocument/2006/relationships/tags" Target="../tags/tag119.xml"/><Relationship Id="rId7" Type="http://schemas.openxmlformats.org/officeDocument/2006/relationships/tags" Target="../tags/tag123.xml"/><Relationship Id="rId12" Type="http://schemas.openxmlformats.org/officeDocument/2006/relationships/image" Target="../media/image26.emf"/><Relationship Id="rId2" Type="http://schemas.openxmlformats.org/officeDocument/2006/relationships/tags" Target="../tags/tag118.xml"/><Relationship Id="rId1" Type="http://schemas.openxmlformats.org/officeDocument/2006/relationships/tags" Target="../tags/tag117.xml"/><Relationship Id="rId6" Type="http://schemas.openxmlformats.org/officeDocument/2006/relationships/tags" Target="../tags/tag122.xml"/><Relationship Id="rId11" Type="http://schemas.openxmlformats.org/officeDocument/2006/relationships/oleObject" Target="../embeddings/oleObject10.bin"/><Relationship Id="rId5" Type="http://schemas.openxmlformats.org/officeDocument/2006/relationships/tags" Target="../tags/tag121.xml"/><Relationship Id="rId10" Type="http://schemas.openxmlformats.org/officeDocument/2006/relationships/slideLayout" Target="../slideLayouts/slideLayout2.xml"/><Relationship Id="rId4" Type="http://schemas.openxmlformats.org/officeDocument/2006/relationships/tags" Target="../tags/tag120.xml"/><Relationship Id="rId9" Type="http://schemas.openxmlformats.org/officeDocument/2006/relationships/tags" Target="../tags/tag125.xml"/><Relationship Id="rId14" Type="http://schemas.openxmlformats.org/officeDocument/2006/relationships/image" Target="../media/image29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133.xml"/><Relationship Id="rId13" Type="http://schemas.openxmlformats.org/officeDocument/2006/relationships/image" Target="../media/image7.emf"/><Relationship Id="rId3" Type="http://schemas.openxmlformats.org/officeDocument/2006/relationships/tags" Target="../tags/tag128.xml"/><Relationship Id="rId7" Type="http://schemas.openxmlformats.org/officeDocument/2006/relationships/tags" Target="../tags/tag132.xml"/><Relationship Id="rId12" Type="http://schemas.openxmlformats.org/officeDocument/2006/relationships/oleObject" Target="../embeddings/oleObject6.bin"/><Relationship Id="rId17" Type="http://schemas.openxmlformats.org/officeDocument/2006/relationships/image" Target="../media/image31.png"/><Relationship Id="rId2" Type="http://schemas.openxmlformats.org/officeDocument/2006/relationships/tags" Target="../tags/tag127.xml"/><Relationship Id="rId16" Type="http://schemas.openxmlformats.org/officeDocument/2006/relationships/tags" Target="../tags/tag1320.xml"/><Relationship Id="rId1" Type="http://schemas.openxmlformats.org/officeDocument/2006/relationships/tags" Target="../tags/tag126.xml"/><Relationship Id="rId6" Type="http://schemas.openxmlformats.org/officeDocument/2006/relationships/tags" Target="../tags/tag131.xml"/><Relationship Id="rId11" Type="http://schemas.openxmlformats.org/officeDocument/2006/relationships/slideLayout" Target="../slideLayouts/slideLayout2.xml"/><Relationship Id="rId5" Type="http://schemas.openxmlformats.org/officeDocument/2006/relationships/tags" Target="../tags/tag130.xml"/><Relationship Id="rId15" Type="http://schemas.openxmlformats.org/officeDocument/2006/relationships/image" Target="../media/image30.png"/><Relationship Id="rId10" Type="http://schemas.openxmlformats.org/officeDocument/2006/relationships/tags" Target="../tags/tag135.xml"/><Relationship Id="rId4" Type="http://schemas.openxmlformats.org/officeDocument/2006/relationships/tags" Target="../tags/tag129.xml"/><Relationship Id="rId9" Type="http://schemas.openxmlformats.org/officeDocument/2006/relationships/tags" Target="../tags/tag134.xml"/><Relationship Id="rId14" Type="http://schemas.openxmlformats.org/officeDocument/2006/relationships/tags" Target="../tags/tag1300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143.xml"/><Relationship Id="rId13" Type="http://schemas.openxmlformats.org/officeDocument/2006/relationships/image" Target="../media/image27.emf"/><Relationship Id="rId3" Type="http://schemas.openxmlformats.org/officeDocument/2006/relationships/tags" Target="../tags/tag138.xml"/><Relationship Id="rId7" Type="http://schemas.openxmlformats.org/officeDocument/2006/relationships/tags" Target="../tags/tag142.xml"/><Relationship Id="rId12" Type="http://schemas.openxmlformats.org/officeDocument/2006/relationships/oleObject" Target="../embeddings/oleObject11.bin"/><Relationship Id="rId17" Type="http://schemas.openxmlformats.org/officeDocument/2006/relationships/image" Target="../media/image34.png"/><Relationship Id="rId2" Type="http://schemas.openxmlformats.org/officeDocument/2006/relationships/tags" Target="../tags/tag137.xml"/><Relationship Id="rId16" Type="http://schemas.openxmlformats.org/officeDocument/2006/relationships/tags" Target="../tags/tag1420.xml"/><Relationship Id="rId1" Type="http://schemas.openxmlformats.org/officeDocument/2006/relationships/tags" Target="../tags/tag136.xml"/><Relationship Id="rId6" Type="http://schemas.openxmlformats.org/officeDocument/2006/relationships/tags" Target="../tags/tag141.xml"/><Relationship Id="rId11" Type="http://schemas.openxmlformats.org/officeDocument/2006/relationships/slideLayout" Target="../slideLayouts/slideLayout2.xml"/><Relationship Id="rId5" Type="http://schemas.openxmlformats.org/officeDocument/2006/relationships/tags" Target="../tags/tag140.xml"/><Relationship Id="rId15" Type="http://schemas.openxmlformats.org/officeDocument/2006/relationships/image" Target="../media/image33.png"/><Relationship Id="rId10" Type="http://schemas.openxmlformats.org/officeDocument/2006/relationships/tags" Target="../tags/tag145.xml"/><Relationship Id="rId4" Type="http://schemas.openxmlformats.org/officeDocument/2006/relationships/tags" Target="../tags/tag139.xml"/><Relationship Id="rId9" Type="http://schemas.openxmlformats.org/officeDocument/2006/relationships/tags" Target="../tags/tag144.xml"/><Relationship Id="rId14" Type="http://schemas.openxmlformats.org/officeDocument/2006/relationships/tags" Target="../tags/tag1390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tags" Target="../tags/tag153.xml"/><Relationship Id="rId13" Type="http://schemas.openxmlformats.org/officeDocument/2006/relationships/image" Target="../media/image35.png"/><Relationship Id="rId3" Type="http://schemas.openxmlformats.org/officeDocument/2006/relationships/tags" Target="../tags/tag148.xml"/><Relationship Id="rId7" Type="http://schemas.openxmlformats.org/officeDocument/2006/relationships/tags" Target="../tags/tag152.xml"/><Relationship Id="rId12" Type="http://schemas.openxmlformats.org/officeDocument/2006/relationships/image" Target="../media/image32.png"/><Relationship Id="rId2" Type="http://schemas.openxmlformats.org/officeDocument/2006/relationships/tags" Target="../tags/tag147.xml"/><Relationship Id="rId1" Type="http://schemas.openxmlformats.org/officeDocument/2006/relationships/tags" Target="../tags/tag146.xml"/><Relationship Id="rId6" Type="http://schemas.openxmlformats.org/officeDocument/2006/relationships/tags" Target="../tags/tag151.xml"/><Relationship Id="rId11" Type="http://schemas.openxmlformats.org/officeDocument/2006/relationships/image" Target="../media/image7.emf"/><Relationship Id="rId5" Type="http://schemas.openxmlformats.org/officeDocument/2006/relationships/tags" Target="../tags/tag150.xml"/><Relationship Id="rId10" Type="http://schemas.openxmlformats.org/officeDocument/2006/relationships/oleObject" Target="../embeddings/oleObject6.bin"/><Relationship Id="rId4" Type="http://schemas.openxmlformats.org/officeDocument/2006/relationships/tags" Target="../tags/tag149.xml"/><Relationship Id="rId9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.bin"/><Relationship Id="rId3" Type="http://schemas.openxmlformats.org/officeDocument/2006/relationships/tags" Target="../tags/tag156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155.xml"/><Relationship Id="rId1" Type="http://schemas.openxmlformats.org/officeDocument/2006/relationships/tags" Target="../tags/tag154.xml"/><Relationship Id="rId6" Type="http://schemas.openxmlformats.org/officeDocument/2006/relationships/tags" Target="../tags/tag159.xml"/><Relationship Id="rId5" Type="http://schemas.openxmlformats.org/officeDocument/2006/relationships/tags" Target="../tags/tag158.xml"/><Relationship Id="rId4" Type="http://schemas.openxmlformats.org/officeDocument/2006/relationships/tags" Target="../tags/tag157.xml"/><Relationship Id="rId9" Type="http://schemas.openxmlformats.org/officeDocument/2006/relationships/image" Target="../media/image27.emf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162.xml"/><Relationship Id="rId7" Type="http://schemas.openxmlformats.org/officeDocument/2006/relationships/tags" Target="../tags/tag166.xml"/><Relationship Id="rId2" Type="http://schemas.openxmlformats.org/officeDocument/2006/relationships/tags" Target="../tags/tag161.xml"/><Relationship Id="rId1" Type="http://schemas.openxmlformats.org/officeDocument/2006/relationships/tags" Target="../tags/tag160.xml"/><Relationship Id="rId6" Type="http://schemas.openxmlformats.org/officeDocument/2006/relationships/tags" Target="../tags/tag165.xml"/><Relationship Id="rId11" Type="http://schemas.openxmlformats.org/officeDocument/2006/relationships/image" Target="../media/image36.png"/><Relationship Id="rId5" Type="http://schemas.openxmlformats.org/officeDocument/2006/relationships/tags" Target="../tags/tag164.xml"/><Relationship Id="rId10" Type="http://schemas.openxmlformats.org/officeDocument/2006/relationships/image" Target="../media/image27.emf"/><Relationship Id="rId4" Type="http://schemas.openxmlformats.org/officeDocument/2006/relationships/tags" Target="../tags/tag163.xml"/><Relationship Id="rId9" Type="http://schemas.openxmlformats.org/officeDocument/2006/relationships/oleObject" Target="../embeddings/oleObject11.bin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169.xml"/><Relationship Id="rId7" Type="http://schemas.openxmlformats.org/officeDocument/2006/relationships/tags" Target="../tags/tag173.xml"/><Relationship Id="rId12" Type="http://schemas.openxmlformats.org/officeDocument/2006/relationships/image" Target="../media/image37.png"/><Relationship Id="rId2" Type="http://schemas.openxmlformats.org/officeDocument/2006/relationships/tags" Target="../tags/tag168.xml"/><Relationship Id="rId1" Type="http://schemas.openxmlformats.org/officeDocument/2006/relationships/tags" Target="../tags/tag167.xml"/><Relationship Id="rId6" Type="http://schemas.openxmlformats.org/officeDocument/2006/relationships/tags" Target="../tags/tag172.xml"/><Relationship Id="rId11" Type="http://schemas.openxmlformats.org/officeDocument/2006/relationships/tags" Target="../tags/tag1700.xml"/><Relationship Id="rId5" Type="http://schemas.openxmlformats.org/officeDocument/2006/relationships/tags" Target="../tags/tag171.xml"/><Relationship Id="rId10" Type="http://schemas.openxmlformats.org/officeDocument/2006/relationships/image" Target="../media/image27.emf"/><Relationship Id="rId4" Type="http://schemas.openxmlformats.org/officeDocument/2006/relationships/tags" Target="../tags/tag170.xml"/><Relationship Id="rId9" Type="http://schemas.openxmlformats.org/officeDocument/2006/relationships/oleObject" Target="../embeddings/oleObject11.bin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176.xml"/><Relationship Id="rId7" Type="http://schemas.openxmlformats.org/officeDocument/2006/relationships/tags" Target="../tags/tag180.xml"/><Relationship Id="rId2" Type="http://schemas.openxmlformats.org/officeDocument/2006/relationships/tags" Target="../tags/tag175.xml"/><Relationship Id="rId1" Type="http://schemas.openxmlformats.org/officeDocument/2006/relationships/tags" Target="../tags/tag174.xml"/><Relationship Id="rId6" Type="http://schemas.openxmlformats.org/officeDocument/2006/relationships/tags" Target="../tags/tag179.xml"/><Relationship Id="rId11" Type="http://schemas.openxmlformats.org/officeDocument/2006/relationships/image" Target="../media/image38.png"/><Relationship Id="rId5" Type="http://schemas.openxmlformats.org/officeDocument/2006/relationships/tags" Target="../tags/tag178.xml"/><Relationship Id="rId10" Type="http://schemas.openxmlformats.org/officeDocument/2006/relationships/image" Target="../media/image27.emf"/><Relationship Id="rId4" Type="http://schemas.openxmlformats.org/officeDocument/2006/relationships/tags" Target="../tags/tag177.xml"/><Relationship Id="rId9" Type="http://schemas.openxmlformats.org/officeDocument/2006/relationships/oleObject" Target="../embeddings/oleObject11.bin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183.xml"/><Relationship Id="rId7" Type="http://schemas.openxmlformats.org/officeDocument/2006/relationships/tags" Target="../tags/tag187.xml"/><Relationship Id="rId2" Type="http://schemas.openxmlformats.org/officeDocument/2006/relationships/tags" Target="../tags/tag182.xml"/><Relationship Id="rId1" Type="http://schemas.openxmlformats.org/officeDocument/2006/relationships/tags" Target="../tags/tag181.xml"/><Relationship Id="rId6" Type="http://schemas.openxmlformats.org/officeDocument/2006/relationships/tags" Target="../tags/tag186.xml"/><Relationship Id="rId11" Type="http://schemas.openxmlformats.org/officeDocument/2006/relationships/image" Target="../media/image39.png"/><Relationship Id="rId5" Type="http://schemas.openxmlformats.org/officeDocument/2006/relationships/tags" Target="../tags/tag185.xml"/><Relationship Id="rId10" Type="http://schemas.openxmlformats.org/officeDocument/2006/relationships/image" Target="../media/image27.emf"/><Relationship Id="rId4" Type="http://schemas.openxmlformats.org/officeDocument/2006/relationships/tags" Target="../tags/tag184.xml"/><Relationship Id="rId9" Type="http://schemas.openxmlformats.org/officeDocument/2006/relationships/oleObject" Target="../embeddings/oleObject11.bin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190.xml"/><Relationship Id="rId7" Type="http://schemas.openxmlformats.org/officeDocument/2006/relationships/tags" Target="../tags/tag194.xml"/><Relationship Id="rId12" Type="http://schemas.openxmlformats.org/officeDocument/2006/relationships/image" Target="../media/image40.png"/><Relationship Id="rId2" Type="http://schemas.openxmlformats.org/officeDocument/2006/relationships/tags" Target="../tags/tag189.xml"/><Relationship Id="rId1" Type="http://schemas.openxmlformats.org/officeDocument/2006/relationships/tags" Target="../tags/tag188.xml"/><Relationship Id="rId6" Type="http://schemas.openxmlformats.org/officeDocument/2006/relationships/tags" Target="../tags/tag193.xml"/><Relationship Id="rId11" Type="http://schemas.openxmlformats.org/officeDocument/2006/relationships/tags" Target="../tags/tag1910.xml"/><Relationship Id="rId5" Type="http://schemas.openxmlformats.org/officeDocument/2006/relationships/tags" Target="../tags/tag192.xml"/><Relationship Id="rId10" Type="http://schemas.openxmlformats.org/officeDocument/2006/relationships/image" Target="../media/image27.emf"/><Relationship Id="rId4" Type="http://schemas.openxmlformats.org/officeDocument/2006/relationships/tags" Target="../tags/tag191.xml"/><Relationship Id="rId9" Type="http://schemas.openxmlformats.org/officeDocument/2006/relationships/oleObject" Target="../embeddings/oleObject11.bin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197.xml"/><Relationship Id="rId7" Type="http://schemas.openxmlformats.org/officeDocument/2006/relationships/tags" Target="../tags/tag201.xml"/><Relationship Id="rId2" Type="http://schemas.openxmlformats.org/officeDocument/2006/relationships/tags" Target="../tags/tag196.xml"/><Relationship Id="rId1" Type="http://schemas.openxmlformats.org/officeDocument/2006/relationships/tags" Target="../tags/tag195.xml"/><Relationship Id="rId6" Type="http://schemas.openxmlformats.org/officeDocument/2006/relationships/tags" Target="../tags/tag200.xml"/><Relationship Id="rId11" Type="http://schemas.openxmlformats.org/officeDocument/2006/relationships/image" Target="../media/image41.png"/><Relationship Id="rId5" Type="http://schemas.openxmlformats.org/officeDocument/2006/relationships/tags" Target="../tags/tag199.xml"/><Relationship Id="rId10" Type="http://schemas.openxmlformats.org/officeDocument/2006/relationships/image" Target="../media/image27.emf"/><Relationship Id="rId4" Type="http://schemas.openxmlformats.org/officeDocument/2006/relationships/tags" Target="../tags/tag198.xml"/><Relationship Id="rId9" Type="http://schemas.openxmlformats.org/officeDocument/2006/relationships/oleObject" Target="../embeddings/oleObject11.bin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13" Type="http://schemas.openxmlformats.org/officeDocument/2006/relationships/image" Target="../media/image44.png"/><Relationship Id="rId3" Type="http://schemas.openxmlformats.org/officeDocument/2006/relationships/tags" Target="../tags/tag204.xml"/><Relationship Id="rId7" Type="http://schemas.openxmlformats.org/officeDocument/2006/relationships/tags" Target="../tags/tag208.xml"/><Relationship Id="rId12" Type="http://schemas.openxmlformats.org/officeDocument/2006/relationships/image" Target="../media/image43.png"/><Relationship Id="rId2" Type="http://schemas.openxmlformats.org/officeDocument/2006/relationships/tags" Target="../tags/tag203.xml"/><Relationship Id="rId1" Type="http://schemas.openxmlformats.org/officeDocument/2006/relationships/tags" Target="../tags/tag202.xml"/><Relationship Id="rId6" Type="http://schemas.openxmlformats.org/officeDocument/2006/relationships/tags" Target="../tags/tag207.xml"/><Relationship Id="rId11" Type="http://schemas.openxmlformats.org/officeDocument/2006/relationships/image" Target="../media/image42.png"/><Relationship Id="rId5" Type="http://schemas.openxmlformats.org/officeDocument/2006/relationships/tags" Target="../tags/tag206.xml"/><Relationship Id="rId10" Type="http://schemas.openxmlformats.org/officeDocument/2006/relationships/image" Target="../media/image7.emf"/><Relationship Id="rId4" Type="http://schemas.openxmlformats.org/officeDocument/2006/relationships/tags" Target="../tags/tag205.xml"/><Relationship Id="rId9" Type="http://schemas.openxmlformats.org/officeDocument/2006/relationships/oleObject" Target="../embeddings/oleObject6.bin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tags" Target="../tags/tag211.xml"/><Relationship Id="rId7" Type="http://schemas.openxmlformats.org/officeDocument/2006/relationships/slideLayout" Target="../slideLayouts/slideLayout2.xml"/><Relationship Id="rId12" Type="http://schemas.openxmlformats.org/officeDocument/2006/relationships/image" Target="../media/image47.png"/><Relationship Id="rId2" Type="http://schemas.openxmlformats.org/officeDocument/2006/relationships/tags" Target="../tags/tag210.xml"/><Relationship Id="rId1" Type="http://schemas.openxmlformats.org/officeDocument/2006/relationships/tags" Target="../tags/tag209.xml"/><Relationship Id="rId6" Type="http://schemas.openxmlformats.org/officeDocument/2006/relationships/tags" Target="../tags/tag214.xml"/><Relationship Id="rId11" Type="http://schemas.openxmlformats.org/officeDocument/2006/relationships/image" Target="../media/image46.png"/><Relationship Id="rId5" Type="http://schemas.openxmlformats.org/officeDocument/2006/relationships/tags" Target="../tags/tag213.xml"/><Relationship Id="rId10" Type="http://schemas.openxmlformats.org/officeDocument/2006/relationships/image" Target="../media/image45.png"/><Relationship Id="rId4" Type="http://schemas.openxmlformats.org/officeDocument/2006/relationships/tags" Target="../tags/tag212.xml"/><Relationship Id="rId9" Type="http://schemas.openxmlformats.org/officeDocument/2006/relationships/image" Target="../media/image7.emf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tags" Target="../tags/tag217.xml"/><Relationship Id="rId7" Type="http://schemas.openxmlformats.org/officeDocument/2006/relationships/slideLayout" Target="../slideLayouts/slideLayout2.xml"/><Relationship Id="rId12" Type="http://schemas.openxmlformats.org/officeDocument/2006/relationships/image" Target="../media/image50.png"/><Relationship Id="rId2" Type="http://schemas.openxmlformats.org/officeDocument/2006/relationships/tags" Target="../tags/tag216.xml"/><Relationship Id="rId1" Type="http://schemas.openxmlformats.org/officeDocument/2006/relationships/tags" Target="../tags/tag215.xml"/><Relationship Id="rId6" Type="http://schemas.openxmlformats.org/officeDocument/2006/relationships/tags" Target="../tags/tag220.xml"/><Relationship Id="rId11" Type="http://schemas.openxmlformats.org/officeDocument/2006/relationships/image" Target="../media/image49.png"/><Relationship Id="rId5" Type="http://schemas.openxmlformats.org/officeDocument/2006/relationships/tags" Target="../tags/tag219.xml"/><Relationship Id="rId10" Type="http://schemas.openxmlformats.org/officeDocument/2006/relationships/image" Target="../media/image48.png"/><Relationship Id="rId4" Type="http://schemas.openxmlformats.org/officeDocument/2006/relationships/tags" Target="../tags/tag218.xml"/><Relationship Id="rId9" Type="http://schemas.openxmlformats.org/officeDocument/2006/relationships/image" Target="../media/image7.emf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13" Type="http://schemas.openxmlformats.org/officeDocument/2006/relationships/image" Target="../media/image54.png"/><Relationship Id="rId3" Type="http://schemas.openxmlformats.org/officeDocument/2006/relationships/tags" Target="../tags/tag223.xml"/><Relationship Id="rId7" Type="http://schemas.openxmlformats.org/officeDocument/2006/relationships/slideLayout" Target="../slideLayouts/slideLayout2.xml"/><Relationship Id="rId12" Type="http://schemas.openxmlformats.org/officeDocument/2006/relationships/image" Target="../media/image53.png"/><Relationship Id="rId2" Type="http://schemas.openxmlformats.org/officeDocument/2006/relationships/tags" Target="../tags/tag222.xml"/><Relationship Id="rId1" Type="http://schemas.openxmlformats.org/officeDocument/2006/relationships/tags" Target="../tags/tag221.xml"/><Relationship Id="rId6" Type="http://schemas.openxmlformats.org/officeDocument/2006/relationships/tags" Target="../tags/tag226.xml"/><Relationship Id="rId11" Type="http://schemas.openxmlformats.org/officeDocument/2006/relationships/image" Target="../media/image52.png"/><Relationship Id="rId5" Type="http://schemas.openxmlformats.org/officeDocument/2006/relationships/tags" Target="../tags/tag225.xml"/><Relationship Id="rId10" Type="http://schemas.openxmlformats.org/officeDocument/2006/relationships/image" Target="../media/image51.png"/><Relationship Id="rId4" Type="http://schemas.openxmlformats.org/officeDocument/2006/relationships/tags" Target="../tags/tag224.xml"/><Relationship Id="rId9" Type="http://schemas.openxmlformats.org/officeDocument/2006/relationships/image" Target="../media/image7.emf"/><Relationship Id="rId14" Type="http://schemas.openxmlformats.org/officeDocument/2006/relationships/image" Target="../media/image55.png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tags" Target="../tags/tag234.xml"/><Relationship Id="rId3" Type="http://schemas.openxmlformats.org/officeDocument/2006/relationships/tags" Target="../tags/tag229.xml"/><Relationship Id="rId7" Type="http://schemas.openxmlformats.org/officeDocument/2006/relationships/tags" Target="../tags/tag233.xml"/><Relationship Id="rId12" Type="http://schemas.openxmlformats.org/officeDocument/2006/relationships/image" Target="../media/image56.png"/><Relationship Id="rId2" Type="http://schemas.openxmlformats.org/officeDocument/2006/relationships/tags" Target="../tags/tag228.xml"/><Relationship Id="rId1" Type="http://schemas.openxmlformats.org/officeDocument/2006/relationships/tags" Target="../tags/tag227.xml"/><Relationship Id="rId6" Type="http://schemas.openxmlformats.org/officeDocument/2006/relationships/tags" Target="../tags/tag232.xml"/><Relationship Id="rId11" Type="http://schemas.openxmlformats.org/officeDocument/2006/relationships/image" Target="../media/image12.emf"/><Relationship Id="rId5" Type="http://schemas.openxmlformats.org/officeDocument/2006/relationships/tags" Target="../tags/tag231.xml"/><Relationship Id="rId10" Type="http://schemas.openxmlformats.org/officeDocument/2006/relationships/oleObject" Target="../embeddings/oleObject7.bin"/><Relationship Id="rId4" Type="http://schemas.openxmlformats.org/officeDocument/2006/relationships/tags" Target="../tags/tag230.xml"/><Relationship Id="rId9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tags" Target="../tags/tag242.xml"/><Relationship Id="rId13" Type="http://schemas.openxmlformats.org/officeDocument/2006/relationships/oleObject" Target="../embeddings/oleObject12.bin"/><Relationship Id="rId3" Type="http://schemas.openxmlformats.org/officeDocument/2006/relationships/tags" Target="../tags/tag237.xml"/><Relationship Id="rId7" Type="http://schemas.openxmlformats.org/officeDocument/2006/relationships/tags" Target="../tags/tag241.xml"/><Relationship Id="rId12" Type="http://schemas.openxmlformats.org/officeDocument/2006/relationships/slideLayout" Target="../slideLayouts/slideLayout2.xml"/><Relationship Id="rId2" Type="http://schemas.openxmlformats.org/officeDocument/2006/relationships/tags" Target="../tags/tag236.xml"/><Relationship Id="rId1" Type="http://schemas.openxmlformats.org/officeDocument/2006/relationships/tags" Target="../tags/tag235.xml"/><Relationship Id="rId6" Type="http://schemas.openxmlformats.org/officeDocument/2006/relationships/tags" Target="../tags/tag240.xml"/><Relationship Id="rId11" Type="http://schemas.openxmlformats.org/officeDocument/2006/relationships/tags" Target="../tags/tag245.xml"/><Relationship Id="rId5" Type="http://schemas.openxmlformats.org/officeDocument/2006/relationships/tags" Target="../tags/tag239.xml"/><Relationship Id="rId10" Type="http://schemas.openxmlformats.org/officeDocument/2006/relationships/tags" Target="../tags/tag244.xml"/><Relationship Id="rId4" Type="http://schemas.openxmlformats.org/officeDocument/2006/relationships/tags" Target="../tags/tag238.xml"/><Relationship Id="rId9" Type="http://schemas.openxmlformats.org/officeDocument/2006/relationships/tags" Target="../tags/tag243.xml"/><Relationship Id="rId14" Type="http://schemas.openxmlformats.org/officeDocument/2006/relationships/image" Target="../media/image57.emf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tags" Target="../tags/tag253.xml"/><Relationship Id="rId3" Type="http://schemas.openxmlformats.org/officeDocument/2006/relationships/tags" Target="../tags/tag248.xml"/><Relationship Id="rId7" Type="http://schemas.openxmlformats.org/officeDocument/2006/relationships/tags" Target="../tags/tag252.xml"/><Relationship Id="rId12" Type="http://schemas.openxmlformats.org/officeDocument/2006/relationships/image" Target="../media/image57.emf"/><Relationship Id="rId2" Type="http://schemas.openxmlformats.org/officeDocument/2006/relationships/tags" Target="../tags/tag247.xml"/><Relationship Id="rId1" Type="http://schemas.openxmlformats.org/officeDocument/2006/relationships/tags" Target="../tags/tag246.xml"/><Relationship Id="rId6" Type="http://schemas.openxmlformats.org/officeDocument/2006/relationships/tags" Target="../tags/tag251.xml"/><Relationship Id="rId11" Type="http://schemas.openxmlformats.org/officeDocument/2006/relationships/oleObject" Target="../embeddings/oleObject12.bin"/><Relationship Id="rId5" Type="http://schemas.openxmlformats.org/officeDocument/2006/relationships/tags" Target="../tags/tag250.xml"/><Relationship Id="rId10" Type="http://schemas.openxmlformats.org/officeDocument/2006/relationships/slideLayout" Target="../slideLayouts/slideLayout2.xml"/><Relationship Id="rId4" Type="http://schemas.openxmlformats.org/officeDocument/2006/relationships/tags" Target="../tags/tag249.xml"/><Relationship Id="rId9" Type="http://schemas.openxmlformats.org/officeDocument/2006/relationships/tags" Target="../tags/tag254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tags" Target="../tags/tag257.xml"/><Relationship Id="rId7" Type="http://schemas.openxmlformats.org/officeDocument/2006/relationships/image" Target="../media/image12.emf"/><Relationship Id="rId2" Type="http://schemas.openxmlformats.org/officeDocument/2006/relationships/tags" Target="../tags/tag256.xml"/><Relationship Id="rId1" Type="http://schemas.openxmlformats.org/officeDocument/2006/relationships/tags" Target="../tags/tag255.xml"/><Relationship Id="rId6" Type="http://schemas.openxmlformats.org/officeDocument/2006/relationships/oleObject" Target="../embeddings/oleObject7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58.xml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3" Type="http://schemas.openxmlformats.org/officeDocument/2006/relationships/tags" Target="../tags/tag261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260.xml"/><Relationship Id="rId1" Type="http://schemas.openxmlformats.org/officeDocument/2006/relationships/tags" Target="../tags/tag259.xml"/><Relationship Id="rId6" Type="http://schemas.openxmlformats.org/officeDocument/2006/relationships/tags" Target="../tags/tag264.xml"/><Relationship Id="rId5" Type="http://schemas.openxmlformats.org/officeDocument/2006/relationships/tags" Target="../tags/tag263.xml"/><Relationship Id="rId10" Type="http://schemas.openxmlformats.org/officeDocument/2006/relationships/image" Target="../media/image58.png"/><Relationship Id="rId4" Type="http://schemas.openxmlformats.org/officeDocument/2006/relationships/tags" Target="../tags/tag262.xml"/><Relationship Id="rId9" Type="http://schemas.openxmlformats.org/officeDocument/2006/relationships/image" Target="../media/image12.emf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png"/><Relationship Id="rId3" Type="http://schemas.openxmlformats.org/officeDocument/2006/relationships/tags" Target="../tags/tag267.xml"/><Relationship Id="rId7" Type="http://schemas.openxmlformats.org/officeDocument/2006/relationships/image" Target="../media/image12.emf"/><Relationship Id="rId2" Type="http://schemas.openxmlformats.org/officeDocument/2006/relationships/tags" Target="../tags/tag266.xml"/><Relationship Id="rId1" Type="http://schemas.openxmlformats.org/officeDocument/2006/relationships/tags" Target="../tags/tag265.xml"/><Relationship Id="rId6" Type="http://schemas.openxmlformats.org/officeDocument/2006/relationships/oleObject" Target="../embeddings/oleObject7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68.xml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png"/><Relationship Id="rId3" Type="http://schemas.openxmlformats.org/officeDocument/2006/relationships/tags" Target="../tags/tag271.xml"/><Relationship Id="rId7" Type="http://schemas.openxmlformats.org/officeDocument/2006/relationships/image" Target="../media/image12.emf"/><Relationship Id="rId2" Type="http://schemas.openxmlformats.org/officeDocument/2006/relationships/tags" Target="../tags/tag270.xml"/><Relationship Id="rId1" Type="http://schemas.openxmlformats.org/officeDocument/2006/relationships/tags" Target="../tags/tag269.xml"/><Relationship Id="rId6" Type="http://schemas.openxmlformats.org/officeDocument/2006/relationships/oleObject" Target="../embeddings/oleObject7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7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.xml"/><Relationship Id="rId3" Type="http://schemas.openxmlformats.org/officeDocument/2006/relationships/tags" Target="../tags/tag25.xml"/><Relationship Id="rId7" Type="http://schemas.openxmlformats.org/officeDocument/2006/relationships/tags" Target="../tags/tag29.xml"/><Relationship Id="rId12" Type="http://schemas.openxmlformats.org/officeDocument/2006/relationships/image" Target="../media/image8.png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tags" Target="../tags/tag28.xml"/><Relationship Id="rId11" Type="http://schemas.openxmlformats.org/officeDocument/2006/relationships/image" Target="../media/image7.emf"/><Relationship Id="rId5" Type="http://schemas.openxmlformats.org/officeDocument/2006/relationships/tags" Target="../tags/tag27.xml"/><Relationship Id="rId10" Type="http://schemas.openxmlformats.org/officeDocument/2006/relationships/oleObject" Target="../embeddings/oleObject6.bin"/><Relationship Id="rId4" Type="http://schemas.openxmlformats.org/officeDocument/2006/relationships/tags" Target="../tags/tag26.xml"/><Relationship Id="rId9" Type="http://schemas.openxmlformats.org/officeDocument/2006/relationships/notesSlide" Target="../notesSlides/notesSlide1.xml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png"/><Relationship Id="rId3" Type="http://schemas.openxmlformats.org/officeDocument/2006/relationships/tags" Target="../tags/tag275.xml"/><Relationship Id="rId7" Type="http://schemas.openxmlformats.org/officeDocument/2006/relationships/image" Target="../media/image12.emf"/><Relationship Id="rId2" Type="http://schemas.openxmlformats.org/officeDocument/2006/relationships/tags" Target="../tags/tag274.xml"/><Relationship Id="rId1" Type="http://schemas.openxmlformats.org/officeDocument/2006/relationships/tags" Target="../tags/tag273.xml"/><Relationship Id="rId6" Type="http://schemas.openxmlformats.org/officeDocument/2006/relationships/oleObject" Target="../embeddings/oleObject7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76.xml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2.png"/><Relationship Id="rId3" Type="http://schemas.openxmlformats.org/officeDocument/2006/relationships/tags" Target="../tags/tag279.xml"/><Relationship Id="rId7" Type="http://schemas.openxmlformats.org/officeDocument/2006/relationships/image" Target="../media/image12.emf"/><Relationship Id="rId2" Type="http://schemas.openxmlformats.org/officeDocument/2006/relationships/tags" Target="../tags/tag278.xml"/><Relationship Id="rId1" Type="http://schemas.openxmlformats.org/officeDocument/2006/relationships/tags" Target="../tags/tag277.xml"/><Relationship Id="rId6" Type="http://schemas.openxmlformats.org/officeDocument/2006/relationships/oleObject" Target="../embeddings/oleObject7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80.xml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3.png"/><Relationship Id="rId3" Type="http://schemas.openxmlformats.org/officeDocument/2006/relationships/tags" Target="../tags/tag283.xml"/><Relationship Id="rId7" Type="http://schemas.openxmlformats.org/officeDocument/2006/relationships/image" Target="../media/image12.emf"/><Relationship Id="rId2" Type="http://schemas.openxmlformats.org/officeDocument/2006/relationships/tags" Target="../tags/tag282.xml"/><Relationship Id="rId1" Type="http://schemas.openxmlformats.org/officeDocument/2006/relationships/tags" Target="../tags/tag281.xml"/><Relationship Id="rId6" Type="http://schemas.openxmlformats.org/officeDocument/2006/relationships/oleObject" Target="../embeddings/oleObject7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84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tags" Target="../tags/tag292.xml"/><Relationship Id="rId3" Type="http://schemas.openxmlformats.org/officeDocument/2006/relationships/tags" Target="../tags/tag287.xml"/><Relationship Id="rId7" Type="http://schemas.openxmlformats.org/officeDocument/2006/relationships/tags" Target="../tags/tag291.xml"/><Relationship Id="rId2" Type="http://schemas.openxmlformats.org/officeDocument/2006/relationships/tags" Target="../tags/tag286.xml"/><Relationship Id="rId1" Type="http://schemas.openxmlformats.org/officeDocument/2006/relationships/tags" Target="../tags/tag285.xml"/><Relationship Id="rId6" Type="http://schemas.openxmlformats.org/officeDocument/2006/relationships/tags" Target="../tags/tag290.xml"/><Relationship Id="rId11" Type="http://schemas.openxmlformats.org/officeDocument/2006/relationships/image" Target="../media/image57.emf"/><Relationship Id="rId5" Type="http://schemas.openxmlformats.org/officeDocument/2006/relationships/tags" Target="../tags/tag289.xml"/><Relationship Id="rId10" Type="http://schemas.openxmlformats.org/officeDocument/2006/relationships/oleObject" Target="../embeddings/oleObject12.bin"/><Relationship Id="rId4" Type="http://schemas.openxmlformats.org/officeDocument/2006/relationships/tags" Target="../tags/tag288.xml"/><Relationship Id="rId9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8" Type="http://schemas.openxmlformats.org/officeDocument/2006/relationships/tags" Target="../tags/tag300.xml"/><Relationship Id="rId3" Type="http://schemas.openxmlformats.org/officeDocument/2006/relationships/tags" Target="../tags/tag295.xml"/><Relationship Id="rId7" Type="http://schemas.openxmlformats.org/officeDocument/2006/relationships/tags" Target="../tags/tag299.xml"/><Relationship Id="rId2" Type="http://schemas.openxmlformats.org/officeDocument/2006/relationships/tags" Target="../tags/tag294.xml"/><Relationship Id="rId1" Type="http://schemas.openxmlformats.org/officeDocument/2006/relationships/tags" Target="../tags/tag293.xml"/><Relationship Id="rId6" Type="http://schemas.openxmlformats.org/officeDocument/2006/relationships/tags" Target="../tags/tag298.xml"/><Relationship Id="rId11" Type="http://schemas.openxmlformats.org/officeDocument/2006/relationships/image" Target="../media/image57.emf"/><Relationship Id="rId5" Type="http://schemas.openxmlformats.org/officeDocument/2006/relationships/tags" Target="../tags/tag297.xml"/><Relationship Id="rId10" Type="http://schemas.openxmlformats.org/officeDocument/2006/relationships/oleObject" Target="../embeddings/oleObject12.bin"/><Relationship Id="rId4" Type="http://schemas.openxmlformats.org/officeDocument/2006/relationships/tags" Target="../tags/tag296.xml"/><Relationship Id="rId9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37.xml"/><Relationship Id="rId13" Type="http://schemas.openxmlformats.org/officeDocument/2006/relationships/tags" Target="../tags/tag42.xml"/><Relationship Id="rId18" Type="http://schemas.openxmlformats.org/officeDocument/2006/relationships/oleObject" Target="../embeddings/oleObject7.bin"/><Relationship Id="rId3" Type="http://schemas.openxmlformats.org/officeDocument/2006/relationships/tags" Target="../tags/tag32.xml"/><Relationship Id="rId7" Type="http://schemas.openxmlformats.org/officeDocument/2006/relationships/tags" Target="../tags/tag36.xml"/><Relationship Id="rId12" Type="http://schemas.openxmlformats.org/officeDocument/2006/relationships/tags" Target="../tags/tag41.xml"/><Relationship Id="rId17" Type="http://schemas.openxmlformats.org/officeDocument/2006/relationships/image" Target="../media/image11.jpeg"/><Relationship Id="rId2" Type="http://schemas.openxmlformats.org/officeDocument/2006/relationships/tags" Target="../tags/tag31.xml"/><Relationship Id="rId16" Type="http://schemas.openxmlformats.org/officeDocument/2006/relationships/image" Target="../media/image10.jpeg"/><Relationship Id="rId1" Type="http://schemas.openxmlformats.org/officeDocument/2006/relationships/tags" Target="../tags/tag30.xml"/><Relationship Id="rId6" Type="http://schemas.openxmlformats.org/officeDocument/2006/relationships/tags" Target="../tags/tag35.xml"/><Relationship Id="rId11" Type="http://schemas.openxmlformats.org/officeDocument/2006/relationships/tags" Target="../tags/tag40.xml"/><Relationship Id="rId5" Type="http://schemas.openxmlformats.org/officeDocument/2006/relationships/tags" Target="../tags/tag34.xml"/><Relationship Id="rId15" Type="http://schemas.openxmlformats.org/officeDocument/2006/relationships/image" Target="../media/image9.jpeg"/><Relationship Id="rId10" Type="http://schemas.openxmlformats.org/officeDocument/2006/relationships/tags" Target="../tags/tag39.xml"/><Relationship Id="rId19" Type="http://schemas.openxmlformats.org/officeDocument/2006/relationships/image" Target="../media/image12.emf"/><Relationship Id="rId4" Type="http://schemas.openxmlformats.org/officeDocument/2006/relationships/tags" Target="../tags/tag33.xml"/><Relationship Id="rId9" Type="http://schemas.openxmlformats.org/officeDocument/2006/relationships/tags" Target="../tags/tag38.xml"/><Relationship Id="rId14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50.xml"/><Relationship Id="rId13" Type="http://schemas.openxmlformats.org/officeDocument/2006/relationships/image" Target="../media/image7.emf"/><Relationship Id="rId3" Type="http://schemas.openxmlformats.org/officeDocument/2006/relationships/tags" Target="../tags/tag45.xml"/><Relationship Id="rId7" Type="http://schemas.openxmlformats.org/officeDocument/2006/relationships/tags" Target="../tags/tag49.xml"/><Relationship Id="rId12" Type="http://schemas.openxmlformats.org/officeDocument/2006/relationships/oleObject" Target="../embeddings/oleObject6.bin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tags" Target="../tags/tag48.xml"/><Relationship Id="rId11" Type="http://schemas.openxmlformats.org/officeDocument/2006/relationships/notesSlide" Target="../notesSlides/notesSlide2.xml"/><Relationship Id="rId5" Type="http://schemas.openxmlformats.org/officeDocument/2006/relationships/tags" Target="../tags/tag47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46.xml"/><Relationship Id="rId9" Type="http://schemas.openxmlformats.org/officeDocument/2006/relationships/tags" Target="../tags/tag51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59.xml"/><Relationship Id="rId13" Type="http://schemas.openxmlformats.org/officeDocument/2006/relationships/oleObject" Target="../embeddings/oleObject8.bin"/><Relationship Id="rId3" Type="http://schemas.openxmlformats.org/officeDocument/2006/relationships/tags" Target="../tags/tag54.xml"/><Relationship Id="rId7" Type="http://schemas.openxmlformats.org/officeDocument/2006/relationships/tags" Target="../tags/tag58.xml"/><Relationship Id="rId12" Type="http://schemas.openxmlformats.org/officeDocument/2006/relationships/slideLayout" Target="../slideLayouts/slideLayout5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tags" Target="../tags/tag57.xml"/><Relationship Id="rId11" Type="http://schemas.openxmlformats.org/officeDocument/2006/relationships/tags" Target="../tags/tag62.xml"/><Relationship Id="rId5" Type="http://schemas.openxmlformats.org/officeDocument/2006/relationships/tags" Target="../tags/tag56.xml"/><Relationship Id="rId10" Type="http://schemas.openxmlformats.org/officeDocument/2006/relationships/tags" Target="../tags/tag61.xml"/><Relationship Id="rId4" Type="http://schemas.openxmlformats.org/officeDocument/2006/relationships/tags" Target="../tags/tag55.xml"/><Relationship Id="rId9" Type="http://schemas.openxmlformats.org/officeDocument/2006/relationships/tags" Target="../tags/tag60.xml"/><Relationship Id="rId14" Type="http://schemas.openxmlformats.org/officeDocument/2006/relationships/image" Target="../media/image13.emf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70.xml"/><Relationship Id="rId13" Type="http://schemas.openxmlformats.org/officeDocument/2006/relationships/tags" Target="../tags/tag75.xml"/><Relationship Id="rId3" Type="http://schemas.openxmlformats.org/officeDocument/2006/relationships/tags" Target="../tags/tag65.xml"/><Relationship Id="rId7" Type="http://schemas.openxmlformats.org/officeDocument/2006/relationships/tags" Target="../tags/tag69.xml"/><Relationship Id="rId12" Type="http://schemas.openxmlformats.org/officeDocument/2006/relationships/tags" Target="../tags/tag74.xml"/><Relationship Id="rId17" Type="http://schemas.openxmlformats.org/officeDocument/2006/relationships/image" Target="../media/image16.png"/><Relationship Id="rId2" Type="http://schemas.openxmlformats.org/officeDocument/2006/relationships/tags" Target="../tags/tag64.xml"/><Relationship Id="rId16" Type="http://schemas.openxmlformats.org/officeDocument/2006/relationships/image" Target="../media/image15.png"/><Relationship Id="rId1" Type="http://schemas.openxmlformats.org/officeDocument/2006/relationships/tags" Target="../tags/tag63.xml"/><Relationship Id="rId6" Type="http://schemas.openxmlformats.org/officeDocument/2006/relationships/tags" Target="../tags/tag68.xml"/><Relationship Id="rId11" Type="http://schemas.openxmlformats.org/officeDocument/2006/relationships/tags" Target="../tags/tag73.xml"/><Relationship Id="rId5" Type="http://schemas.openxmlformats.org/officeDocument/2006/relationships/tags" Target="../tags/tag67.xml"/><Relationship Id="rId15" Type="http://schemas.openxmlformats.org/officeDocument/2006/relationships/image" Target="../media/image14.png"/><Relationship Id="rId10" Type="http://schemas.openxmlformats.org/officeDocument/2006/relationships/tags" Target="../tags/tag72.xml"/><Relationship Id="rId4" Type="http://schemas.openxmlformats.org/officeDocument/2006/relationships/tags" Target="../tags/tag66.xml"/><Relationship Id="rId9" Type="http://schemas.openxmlformats.org/officeDocument/2006/relationships/tags" Target="../tags/tag71.xml"/><Relationship Id="rId14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37BEA6F-F155-70A5-5A62-8CDB76A72E3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650B802-3E37-E668-7E9D-E2CFA940308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1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7772400" imgH="10058400" progId="TCLayout.ActiveDocument.1">
                  <p:embed/>
                </p:oleObj>
              </mc:Choice>
              <mc:Fallback>
                <p:oleObj name="think-cell Slide" r:id="rId7" imgW="7772400" imgH="10058400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650B802-3E37-E668-7E9D-E2CFA94030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92" y="1191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Subtitle 10">
            <a:extLst>
              <a:ext uri="{FF2B5EF4-FFF2-40B4-BE49-F238E27FC236}">
                <a16:creationId xmlns:a16="http://schemas.microsoft.com/office/drawing/2014/main" id="{4F2A9384-976C-2F64-4D60-C63A48A2C7F1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787852" y="3440951"/>
            <a:ext cx="3784147" cy="1029276"/>
          </a:xfrm>
        </p:spPr>
        <p:txBody>
          <a:bodyPr>
            <a:normAutofit fontScale="92500"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500" b="1" noProof="1">
                <a:latin typeface="Aptos Light" panose="020B0004020202020204" pitchFamily="34" charset="0"/>
              </a:rPr>
              <a:t>Candidate</a:t>
            </a:r>
            <a:r>
              <a:rPr lang="en-US" sz="1500" noProof="1">
                <a:latin typeface="Aptos Light" panose="020B0004020202020204" pitchFamily="34" charset="0"/>
              </a:rPr>
              <a:t>: Volpato Mattia</a:t>
            </a:r>
          </a:p>
          <a:p>
            <a:r>
              <a:rPr lang="en-US" sz="1500" b="1" noProof="1">
                <a:latin typeface="Aptos Light" panose="020B0004020202020204" pitchFamily="34" charset="0"/>
              </a:rPr>
              <a:t>Supervisor</a:t>
            </a:r>
            <a:r>
              <a:rPr lang="en-US" sz="1500" noProof="1">
                <a:latin typeface="Aptos Light" panose="020B0004020202020204" pitchFamily="34" charset="0"/>
              </a:rPr>
              <a:t>: Prof. Michele Ciavotta</a:t>
            </a:r>
          </a:p>
          <a:p>
            <a:r>
              <a:rPr lang="en-US" sz="1500" b="1" noProof="1">
                <a:latin typeface="Aptos Light" panose="020B0004020202020204" pitchFamily="34" charset="0"/>
              </a:rPr>
              <a:t>Company Co-Supervisor</a:t>
            </a:r>
            <a:r>
              <a:rPr lang="en-US" sz="1500" noProof="1">
                <a:latin typeface="Aptos Light" panose="020B0004020202020204" pitchFamily="34" charset="0"/>
              </a:rPr>
              <a:t>: Eng. Bruno Puzzolante</a:t>
            </a:r>
          </a:p>
          <a:p>
            <a:endParaRPr lang="en-US" noProof="1">
              <a:solidFill>
                <a:schemeClr val="accent3"/>
              </a:solidFill>
              <a:latin typeface="Aptos Light" panose="020B0004020202020204" pitchFamily="34" charset="0"/>
            </a:endParaRP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DF7F1B92-FA81-C0E6-AFD3-AC6DA67C21D8}"/>
              </a:ext>
            </a:extLst>
          </p:cNvPr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>
          <a:xfrm>
            <a:off x="787853" y="1612454"/>
            <a:ext cx="7568293" cy="1383839"/>
          </a:xfrm>
        </p:spPr>
        <p:txBody>
          <a:bodyPr lIns="68580" rIns="68580" bIns="34290">
            <a:normAutofit fontScale="90000"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3900" b="1" noProof="1">
                <a:solidFill>
                  <a:srgbClr val="125E4B"/>
                </a:solidFill>
                <a:latin typeface="Aptos" panose="020B0004020202020204" pitchFamily="34" charset="0"/>
              </a:rPr>
              <a:t>Delay Prediction in Supply Chains:</a:t>
            </a:r>
            <a:br>
              <a:rPr lang="en-US" sz="3300" b="1" noProof="1">
                <a:solidFill>
                  <a:srgbClr val="125E4B"/>
                </a:solidFill>
                <a:latin typeface="Aptos" panose="020B0004020202020204" pitchFamily="34" charset="0"/>
              </a:rPr>
            </a:br>
            <a:r>
              <a:rPr lang="en-US" sz="3300" i="1" noProof="1">
                <a:solidFill>
                  <a:srgbClr val="125E4B"/>
                </a:solidFill>
                <a:latin typeface="Aptos" panose="020B0004020202020204" pitchFamily="34" charset="0"/>
              </a:rPr>
              <a:t>A Hybrid Graph-Based and </a:t>
            </a:r>
            <a:br>
              <a:rPr lang="en-US" sz="3300" i="1" noProof="1">
                <a:solidFill>
                  <a:srgbClr val="125E4B"/>
                </a:solidFill>
                <a:latin typeface="Aptos" panose="020B0004020202020204" pitchFamily="34" charset="0"/>
              </a:rPr>
            </a:br>
            <a:r>
              <a:rPr lang="en-US" sz="3300" i="1" noProof="1">
                <a:solidFill>
                  <a:srgbClr val="125E4B"/>
                </a:solidFill>
                <a:latin typeface="Aptos" panose="020B0004020202020204" pitchFamily="34" charset="0"/>
              </a:rPr>
              <a:t>Machine Learning Approach</a:t>
            </a:r>
          </a:p>
        </p:txBody>
      </p:sp>
      <p:sp>
        <p:nvSpPr>
          <p:cNvPr id="3" name="Subtitle 10">
            <a:extLst>
              <a:ext uri="{FF2B5EF4-FFF2-40B4-BE49-F238E27FC236}">
                <a16:creationId xmlns:a16="http://schemas.microsoft.com/office/drawing/2014/main" id="{C2A4F017-DC93-99B3-A1A2-7912D5AC88CB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6622595" y="3739228"/>
            <a:ext cx="2023384" cy="73099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defPPr>
              <a:defRPr lang="en-US"/>
            </a:defPPr>
            <a:lvl1pPr marL="0" indent="0" algn="l" defTabSz="685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indent="0" algn="l" defTabSz="6858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6858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indent="0" algn="l" defTabSz="6858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0" algn="l" defTabSz="6858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indent="0" algn="l" defTabSz="6858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indent="0" algn="l" defTabSz="6858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indent="0" algn="l" defTabSz="6858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indent="0" algn="l" defTabSz="6858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</a:pPr>
            <a:r>
              <a:rPr lang="it-IT" sz="1500" noProof="1">
                <a:latin typeface="Aptos Light" panose="020B0004020202020204" pitchFamily="34" charset="0"/>
              </a:rPr>
              <a:t>Master degree</a:t>
            </a:r>
          </a:p>
          <a:p>
            <a:pPr algn="r">
              <a:buClrTx/>
            </a:pPr>
            <a:r>
              <a:rPr lang="it-IT" sz="1500" b="1" noProof="1">
                <a:latin typeface="Aptos Light" panose="020B0004020202020204" pitchFamily="34" charset="0"/>
              </a:rPr>
              <a:t>Computer Science</a:t>
            </a:r>
            <a:endParaRPr lang="en-US" sz="1500" b="1" noProof="1">
              <a:latin typeface="Aptos Light" panose="020B0004020202020204" pitchFamily="34" charset="0"/>
            </a:endParaRPr>
          </a:p>
        </p:txBody>
      </p:sp>
      <p:pic>
        <p:nvPicPr>
          <p:cNvPr id="4" name="Immagine 3">
            <a:extLst>
              <a:ext uri="{FF2B5EF4-FFF2-40B4-BE49-F238E27FC236}">
                <a16:creationId xmlns:a16="http://schemas.microsoft.com/office/drawing/2014/main" id="{9BC56246-7E1D-FB6F-E249-421F2E2AC00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934665" y="213692"/>
            <a:ext cx="842962" cy="91916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47196071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07A15CD-96BD-BBA3-7A42-AC553F5725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969D1DD2-6038-D2BD-9AD6-5B5EC5A3E691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342900" y="411480"/>
            <a:ext cx="8455914" cy="371475"/>
          </a:xfrm>
        </p:spPr>
        <p:txBody>
          <a:bodyPr vert="horz" lIns="0" tIns="34290" rIns="0" bIns="3429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/>
              <a:t>Traffic, Weather and Holiday Data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F284CDA0-4916-BF50-28B2-8A6EA11CB044}"/>
              </a:ext>
            </a:extLst>
          </p:cNvPr>
          <p:cNvSpPr>
            <a:spLocks noGrp="1"/>
          </p:cNvSpPr>
          <p:nvPr>
            <p:ph sz="half" idx="1"/>
            <p:custDataLst>
              <p:tags r:id="rId3"/>
            </p:custDataLst>
          </p:nvPr>
        </p:nvSpPr>
        <p:spPr>
          <a:xfrm>
            <a:off x="384062" y="3094174"/>
            <a:ext cx="2474484" cy="1022054"/>
          </a:xfrm>
          <a:noFill/>
          <a:ln>
            <a:noFill/>
          </a:ln>
        </p:spPr>
        <p:txBody>
          <a:bodyPr spcFirstLastPara="1" wrap="square" lIns="0" tIns="68580" rIns="68580" bIns="34290" anchor="t" anchorCtr="0"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>
              <a:lnSpc>
                <a:spcPct val="110000"/>
              </a:lnSpc>
              <a:spcBef>
                <a:spcPts val="0"/>
              </a:spcBef>
              <a:buNone/>
            </a:pPr>
            <a:r>
              <a:rPr lang="en-US" sz="1200" b="1" dirty="0"/>
              <a:t>TomTom API </a:t>
            </a:r>
            <a:r>
              <a:rPr lang="en-US" sz="1200" dirty="0"/>
              <a:t>to retrieve </a:t>
            </a:r>
            <a:r>
              <a:rPr lang="en-US" sz="1200" i="1" dirty="0"/>
              <a:t>road</a:t>
            </a:r>
            <a:r>
              <a:rPr lang="en-US" sz="1200" dirty="0"/>
              <a:t> </a:t>
            </a:r>
            <a:r>
              <a:rPr lang="en-US" sz="1200" i="1" dirty="0"/>
              <a:t>traffic</a:t>
            </a:r>
            <a:r>
              <a:rPr lang="en-US" sz="1200" dirty="0"/>
              <a:t> data, comparing ideal vs real-time conditions between two locations.</a:t>
            </a:r>
            <a:endParaRPr lang="en-US" sz="1200" dirty="0">
              <a:solidFill>
                <a:schemeClr val="tx2"/>
              </a:solidFill>
              <a:cs typeface="+mn-cs"/>
            </a:endParaRP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F0130E7E-B23C-FEE2-F3AA-A9C91BDF5EFA}"/>
              </a:ext>
            </a:extLst>
          </p:cNvPr>
          <p:cNvSpPr>
            <a:spLocks noGrp="1"/>
          </p:cNvSpPr>
          <p:nvPr>
            <p:ph sz="half" idx="2"/>
            <p:custDataLst>
              <p:tags r:id="rId4"/>
            </p:custDataLst>
          </p:nvPr>
        </p:nvSpPr>
        <p:spPr>
          <a:xfrm>
            <a:off x="3477861" y="3098447"/>
            <a:ext cx="2375587" cy="1022054"/>
          </a:xfrm>
          <a:noFill/>
          <a:ln>
            <a:noFill/>
          </a:ln>
        </p:spPr>
        <p:txBody>
          <a:bodyPr spcFirstLastPara="1" vert="horz" wrap="square" lIns="0" tIns="68580" rIns="68580" bIns="34290" rtlCol="0" anchor="t" anchorCtr="0"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>
              <a:lnSpc>
                <a:spcPct val="110000"/>
              </a:lnSpc>
              <a:spcBef>
                <a:spcPts val="0"/>
              </a:spcBef>
              <a:buNone/>
            </a:pPr>
            <a:r>
              <a:rPr lang="en-US" sz="1200" b="1" dirty="0"/>
              <a:t>Visual Crossing API </a:t>
            </a:r>
            <a:r>
              <a:rPr lang="en-US" sz="1200" dirty="0"/>
              <a:t>to retrieve </a:t>
            </a:r>
            <a:r>
              <a:rPr lang="en-US" sz="1200" i="1" dirty="0"/>
              <a:t>weather</a:t>
            </a:r>
            <a:r>
              <a:rPr lang="en-US" sz="1200" dirty="0"/>
              <a:t> data, providing real-time conditions for any location.</a:t>
            </a:r>
            <a:endParaRPr lang="en-US" sz="1200" dirty="0">
              <a:solidFill>
                <a:schemeClr val="tx2"/>
              </a:solidFill>
              <a:cs typeface="+mn-cs"/>
            </a:endParaRP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07959758-DAF0-24C0-671C-3BE67176F7E2}"/>
              </a:ext>
            </a:extLst>
          </p:cNvPr>
          <p:cNvSpPr>
            <a:spLocks noGrp="1"/>
          </p:cNvSpPr>
          <p:nvPr>
            <p:ph sz="half" idx="16"/>
            <p:custDataLst>
              <p:tags r:id="rId5"/>
            </p:custDataLst>
          </p:nvPr>
        </p:nvSpPr>
        <p:spPr>
          <a:xfrm>
            <a:off x="6493823" y="3083801"/>
            <a:ext cx="2266115" cy="1022054"/>
          </a:xfrm>
          <a:noFill/>
          <a:ln>
            <a:noFill/>
          </a:ln>
        </p:spPr>
        <p:txBody>
          <a:bodyPr spcFirstLastPara="1" vert="horz" wrap="square" lIns="0" tIns="68580" rIns="68580" bIns="34290" rtlCol="0" anchor="t" anchorCtr="0"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>
              <a:lnSpc>
                <a:spcPct val="110000"/>
              </a:lnSpc>
              <a:spcBef>
                <a:spcPts val="0"/>
              </a:spcBef>
              <a:buNone/>
            </a:pPr>
            <a:r>
              <a:rPr lang="en-US" sz="1200" b="1" dirty="0" err="1"/>
              <a:t>Calendarific</a:t>
            </a:r>
            <a:r>
              <a:rPr lang="en-US" sz="1200" dirty="0"/>
              <a:t> </a:t>
            </a:r>
            <a:r>
              <a:rPr lang="en-US" sz="1200" b="1" dirty="0"/>
              <a:t>API </a:t>
            </a:r>
            <a:r>
              <a:rPr lang="en-US" sz="1200" dirty="0"/>
              <a:t>to retrieve </a:t>
            </a:r>
            <a:r>
              <a:rPr lang="en-US" sz="1200" i="1" dirty="0"/>
              <a:t>national</a:t>
            </a:r>
            <a:r>
              <a:rPr lang="en-US" sz="1200" dirty="0"/>
              <a:t> </a:t>
            </a:r>
            <a:r>
              <a:rPr lang="en-US" sz="1200" i="1" dirty="0"/>
              <a:t>holidays</a:t>
            </a:r>
            <a:r>
              <a:rPr lang="en-US" sz="1200" dirty="0"/>
              <a:t> worldwide, providing indications on supplier closures.</a:t>
            </a:r>
            <a:endParaRPr lang="en-US" sz="1200" dirty="0">
              <a:solidFill>
                <a:schemeClr val="tx2"/>
              </a:solidFill>
              <a:cs typeface="+mn-cs"/>
            </a:endParaRPr>
          </a:p>
        </p:txBody>
      </p:sp>
      <p:pic>
        <p:nvPicPr>
          <p:cNvPr id="4" name="Picture Placeholder 12">
            <a:extLst>
              <a:ext uri="{FF2B5EF4-FFF2-40B4-BE49-F238E27FC236}">
                <a16:creationId xmlns:a16="http://schemas.microsoft.com/office/drawing/2014/main" id="{75BE2720-E46F-B8DF-FBA4-5CB49C702FDA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 rotWithShape="1">
          <a:blip r:embed="rId15"/>
          <a:srcRect t="3" b="3"/>
          <a:stretch/>
        </p:blipFill>
        <p:spPr>
          <a:xfrm>
            <a:off x="720011" y="1406110"/>
            <a:ext cx="1669669" cy="1557131"/>
          </a:xfrm>
          <a:prstGeom prst="rect">
            <a:avLst/>
          </a:prstGeom>
        </p:spPr>
      </p:pic>
      <p:pic>
        <p:nvPicPr>
          <p:cNvPr id="5" name="Picture Placeholder 12">
            <a:extLst>
              <a:ext uri="{FF2B5EF4-FFF2-40B4-BE49-F238E27FC236}">
                <a16:creationId xmlns:a16="http://schemas.microsoft.com/office/drawing/2014/main" id="{EB03D4AA-1B85-F2FF-6D90-259189D3E7AB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 rotWithShape="1">
          <a:blip r:embed="rId16"/>
          <a:srcRect l="104" r="104"/>
          <a:stretch/>
        </p:blipFill>
        <p:spPr>
          <a:xfrm>
            <a:off x="3477861" y="1281233"/>
            <a:ext cx="1882226" cy="1755361"/>
          </a:xfrm>
          <a:prstGeom prst="rect">
            <a:avLst/>
          </a:prstGeom>
        </p:spPr>
      </p:pic>
      <p:pic>
        <p:nvPicPr>
          <p:cNvPr id="6" name="Picture Placeholder 12">
            <a:extLst>
              <a:ext uri="{FF2B5EF4-FFF2-40B4-BE49-F238E27FC236}">
                <a16:creationId xmlns:a16="http://schemas.microsoft.com/office/drawing/2014/main" id="{D58536C3-D5C2-3215-D98D-6D5CBFC38411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 rotWithShape="1">
          <a:blip r:embed="rId17"/>
          <a:srcRect t="132" b="132"/>
          <a:stretch/>
        </p:blipFill>
        <p:spPr>
          <a:xfrm>
            <a:off x="6493823" y="1306994"/>
            <a:ext cx="1882226" cy="1755361"/>
          </a:xfrm>
          <a:prstGeom prst="rect">
            <a:avLst/>
          </a:prstGeom>
        </p:spPr>
      </p:pic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F53DCCD2-51A1-36E4-6B1E-4351A0EB923C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>
          <a:xfrm>
            <a:off x="342900" y="255537"/>
            <a:ext cx="8455819" cy="155515"/>
          </a:xfrm>
          <a:prstGeom prst="rect">
            <a:avLst/>
          </a:prstGeom>
        </p:spPr>
        <p:txBody>
          <a:bodyPr vert="horz" lIns="0" tIns="0" rIns="68580" bIns="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cap="all" noProof="1">
                <a:solidFill>
                  <a:schemeClr val="accent1"/>
                </a:solidFill>
                <a:latin typeface="Aptos" panose="020B0004020202020204" pitchFamily="34" charset="0"/>
              </a:rPr>
              <a:t>Dataset &amp; EXTERNAL SOURCES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6F3CF82D-911A-DEA9-3E99-83FF9856894A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3592028" y="2751966"/>
            <a:ext cx="1653891" cy="32649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1EC6EE7F-876A-1251-E0C4-D0B2A8356B88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6493823" y="2680801"/>
            <a:ext cx="1882226" cy="431805"/>
          </a:xfrm>
          <a:prstGeom prst="rect">
            <a:avLst/>
          </a:prstGeom>
        </p:spPr>
      </p:pic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EFBD27CD-481D-8220-77CA-914FF03CD9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6ABE63A5-106F-80C5-FF9A-C7888C8376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AD4B2D-25FF-0B46-98A4-87FBB723E472}" type="slidenum">
              <a:rPr lang="en-US" smtClean="0"/>
              <a:t>10</a:t>
            </a:fld>
            <a:endParaRPr lang="en-US"/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3207C4F0-93C0-86A0-CA5A-DAF2A82C0BE2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>
          <a:xfrm>
            <a:off x="321469" y="4337048"/>
            <a:ext cx="8509000" cy="463153"/>
          </a:xfrm>
          <a:prstGeom prst="rect">
            <a:avLst/>
          </a:prstGeom>
          <a:solidFill>
            <a:schemeClr val="bg2"/>
          </a:solidFill>
        </p:spPr>
        <p:txBody>
          <a:bodyPr vert="horz" lIns="68580" tIns="68580" rIns="68580" bIns="68580" rtlCol="0" anchor="ctr"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7144">
              <a:lnSpc>
                <a:spcPct val="110000"/>
              </a:lnSpc>
            </a:pPr>
            <a:r>
              <a:rPr lang="en-US" sz="1400" dirty="0">
                <a:solidFill>
                  <a:srgbClr val="125E4B"/>
                </a:solidFill>
              </a:rPr>
              <a:t>Three </a:t>
            </a:r>
            <a:r>
              <a:rPr lang="en-US" sz="1400" b="1" dirty="0">
                <a:solidFill>
                  <a:srgbClr val="125E4B"/>
                </a:solidFill>
              </a:rPr>
              <a:t>complementary</a:t>
            </a:r>
            <a:r>
              <a:rPr lang="en-US" sz="1400" dirty="0">
                <a:solidFill>
                  <a:srgbClr val="125E4B"/>
                </a:solidFill>
              </a:rPr>
              <a:t> </a:t>
            </a:r>
            <a:r>
              <a:rPr lang="en-US" sz="1400" b="1" dirty="0">
                <a:solidFill>
                  <a:srgbClr val="125E4B"/>
                </a:solidFill>
              </a:rPr>
              <a:t>sources</a:t>
            </a:r>
            <a:r>
              <a:rPr lang="en-US" sz="1400" dirty="0">
                <a:solidFill>
                  <a:srgbClr val="125E4B"/>
                </a:solidFill>
              </a:rPr>
              <a:t> enrich the core dataset, providing a </a:t>
            </a:r>
            <a:r>
              <a:rPr lang="en-US" sz="1400" b="1" dirty="0">
                <a:solidFill>
                  <a:srgbClr val="125E4B"/>
                </a:solidFill>
              </a:rPr>
              <a:t>complete</a:t>
            </a:r>
            <a:r>
              <a:rPr lang="en-US" sz="1400" dirty="0">
                <a:solidFill>
                  <a:srgbClr val="125E4B"/>
                </a:solidFill>
              </a:rPr>
              <a:t> </a:t>
            </a:r>
            <a:r>
              <a:rPr lang="en-US" sz="1400" b="1" dirty="0">
                <a:solidFill>
                  <a:srgbClr val="125E4B"/>
                </a:solidFill>
              </a:rPr>
              <a:t>representation</a:t>
            </a:r>
            <a:r>
              <a:rPr lang="en-US" sz="1400" dirty="0">
                <a:solidFill>
                  <a:srgbClr val="125E4B"/>
                </a:solidFill>
              </a:rPr>
              <a:t> of the supply chain.</a:t>
            </a:r>
            <a:endParaRPr lang="en-US" sz="1400" noProof="1">
              <a:solidFill>
                <a:srgbClr val="125E4B"/>
              </a:solidFill>
            </a:endParaRPr>
          </a:p>
        </p:txBody>
      </p:sp>
      <p:sp>
        <p:nvSpPr>
          <p:cNvPr id="19" name="Google Shape;10527;p9415">
            <a:extLst>
              <a:ext uri="{FF2B5EF4-FFF2-40B4-BE49-F238E27FC236}">
                <a16:creationId xmlns:a16="http://schemas.microsoft.com/office/drawing/2014/main" id="{06C20654-EAA3-057E-7DD9-468E709FD519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725755" y="1166842"/>
            <a:ext cx="1618369" cy="28803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68580" tIns="34290" rIns="68580" bIns="34290" anchor="ctr" anchorCtr="0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ts val="1100"/>
            </a:pPr>
            <a:r>
              <a:rPr lang="en-US" sz="1400" noProof="1">
                <a:solidFill>
                  <a:schemeClr val="bg1"/>
                </a:solidFill>
                <a:latin typeface="+mj-lt"/>
              </a:rPr>
              <a:t>Traffic Data</a:t>
            </a:r>
          </a:p>
        </p:txBody>
      </p:sp>
      <p:sp>
        <p:nvSpPr>
          <p:cNvPr id="20" name="Google Shape;10527;p9415">
            <a:extLst>
              <a:ext uri="{FF2B5EF4-FFF2-40B4-BE49-F238E27FC236}">
                <a16:creationId xmlns:a16="http://schemas.microsoft.com/office/drawing/2014/main" id="{AFF08CF2-0B70-9BCA-1AB2-EE35AB44A0EA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3523415" y="1166842"/>
            <a:ext cx="1836671" cy="28803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68580" tIns="34290" rIns="68580" bIns="34290" anchor="ctr" anchorCtr="0"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ts val="1100"/>
            </a:pPr>
            <a:r>
              <a:rPr lang="en-US" sz="1400" noProof="1">
                <a:solidFill>
                  <a:schemeClr val="bg1"/>
                </a:solidFill>
                <a:latin typeface="+mj-lt"/>
              </a:rPr>
              <a:t>Weather Data</a:t>
            </a:r>
          </a:p>
        </p:txBody>
      </p:sp>
      <p:sp>
        <p:nvSpPr>
          <p:cNvPr id="21" name="Google Shape;10527;p9415">
            <a:extLst>
              <a:ext uri="{FF2B5EF4-FFF2-40B4-BE49-F238E27FC236}">
                <a16:creationId xmlns:a16="http://schemas.microsoft.com/office/drawing/2014/main" id="{AC9976C0-266A-4552-D26A-80AD071D7B58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6539377" y="1166842"/>
            <a:ext cx="1836670" cy="28803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68580" tIns="34290" rIns="68580" bIns="34290" anchor="ctr" anchorCtr="0"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ts val="1100"/>
            </a:pPr>
            <a:r>
              <a:rPr lang="en-US" sz="1400" noProof="1">
                <a:solidFill>
                  <a:schemeClr val="bg1"/>
                </a:solidFill>
                <a:latin typeface="+mj-lt"/>
              </a:rPr>
              <a:t>Holiday Data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8534139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65C1EED9-39A5-D0CB-7B65-17BBD7060A0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1" name="Rectangle 10">
            <a:extLst>
              <a:ext uri="{FF2B5EF4-FFF2-40B4-BE49-F238E27FC236}">
                <a16:creationId xmlns:a16="http://schemas.microsoft.com/office/drawing/2014/main" id="{E7CF3A20-74A0-B286-93E7-E7107BED0D1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144000" cy="51435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8977E95-43D5-419C-7051-6CB815B012D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-320"/>
            <a:ext cx="9144000" cy="5143499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15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3684EBE-C296-8FE4-3AC5-F296BAB8FB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341640" y="-1290"/>
            <a:ext cx="8812530" cy="5130513"/>
          </a:xfrm>
          <a:prstGeom prst="rect">
            <a:avLst/>
          </a:prstGeom>
          <a:gradFill>
            <a:gsLst>
              <a:gs pos="21000">
                <a:schemeClr val="accent1">
                  <a:lumMod val="50000"/>
                  <a:alpha val="61000"/>
                </a:schemeClr>
              </a:gs>
              <a:gs pos="100000">
                <a:schemeClr val="accent1">
                  <a:alpha val="0"/>
                </a:schemeClr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17B97C6B-8093-6D77-8ACD-FB152063333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454540" y="-968"/>
            <a:ext cx="2706134" cy="5144147"/>
          </a:xfrm>
          <a:prstGeom prst="rect">
            <a:avLst/>
          </a:prstGeom>
          <a:gradFill>
            <a:gsLst>
              <a:gs pos="0">
                <a:schemeClr val="accent1">
                  <a:lumMod val="75000"/>
                  <a:alpha val="0"/>
                </a:schemeClr>
              </a:gs>
              <a:gs pos="99000">
                <a:srgbClr val="000000">
                  <a:alpha val="41000"/>
                </a:srgb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8C5DA491-D201-F3AE-41C8-596E94A786A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5274173">
            <a:off x="4544796" y="584453"/>
            <a:ext cx="3725650" cy="3741293"/>
          </a:xfrm>
          <a:prstGeom prst="ellipse">
            <a:avLst/>
          </a:prstGeom>
          <a:gradFill>
            <a:gsLst>
              <a:gs pos="0">
                <a:schemeClr val="accent1">
                  <a:alpha val="24000"/>
                </a:schemeClr>
              </a:gs>
              <a:gs pos="79000">
                <a:schemeClr val="accent1">
                  <a:lumMod val="60000"/>
                  <a:lumOff val="40000"/>
                  <a:alpha val="0"/>
                </a:schemeClr>
              </a:gs>
            </a:gsLst>
            <a:lin ang="14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BBA953E-A469-3684-CC06-61C70583E4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89618" y="614238"/>
            <a:ext cx="4597714" cy="2451390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r"/>
            <a:r>
              <a:rPr lang="en-US" sz="3600" dirty="0">
                <a:solidFill>
                  <a:srgbClr val="FFFFFF"/>
                </a:solidFill>
              </a:rPr>
              <a:t>Supply Chain Modeling</a:t>
            </a:r>
            <a:endParaRPr lang="en-US" sz="3600" kern="1200" dirty="0">
              <a:solidFill>
                <a:srgbClr val="FFFFFF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4AED0BD-BAB1-0FA8-780C-E6EC3DDBD9E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4735" y="3360028"/>
            <a:ext cx="9134528" cy="1783472"/>
          </a:xfrm>
          <a:prstGeom prst="rect">
            <a:avLst/>
          </a:prstGeom>
          <a:gradFill>
            <a:gsLst>
              <a:gs pos="0">
                <a:schemeClr val="accent1">
                  <a:lumMod val="75000"/>
                  <a:alpha val="50000"/>
                </a:schemeClr>
              </a:gs>
              <a:gs pos="99000">
                <a:srgbClr val="000000">
                  <a:alpha val="34000"/>
                </a:srgbClr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B64B032-AEC3-B73F-3CEB-5775A3DD1DB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 flipH="1">
            <a:off x="5225314" y="1224495"/>
            <a:ext cx="5143179" cy="2694194"/>
          </a:xfrm>
          <a:prstGeom prst="rect">
            <a:avLst/>
          </a:prstGeom>
          <a:gradFill>
            <a:gsLst>
              <a:gs pos="0">
                <a:schemeClr val="accent1">
                  <a:lumMod val="75000"/>
                  <a:alpha val="50000"/>
                </a:schemeClr>
              </a:gs>
              <a:gs pos="99000">
                <a:srgbClr val="000000">
                  <a:alpha val="0"/>
                </a:srgbClr>
              </a:gs>
            </a:gsLst>
            <a:lin ang="15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419572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607C518-36AB-127E-C3FB-0263DE0764C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60D7C5AB-DBA6-D1CE-362B-C0567296D94B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5429250" y="2718181"/>
            <a:ext cx="3452462" cy="1822437"/>
          </a:xfrm>
          <a:prstGeom prst="rect">
            <a:avLst/>
          </a:prstGeom>
          <a:solidFill>
            <a:schemeClr val="bg2"/>
          </a:solidFill>
        </p:spPr>
        <p:txBody>
          <a:bodyPr vert="horz" lIns="342900" tIns="68580" rIns="274320" bIns="68580" rtlCol="0" anchor="ctr"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0000"/>
              </a:lnSpc>
            </a:pPr>
            <a:endParaRPr lang="en-US" sz="1200" noProof="1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339FD02D-7919-148C-4F63-0118573ADADF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5429250" y="602818"/>
            <a:ext cx="3452462" cy="1968932"/>
          </a:xfrm>
          <a:prstGeom prst="rect">
            <a:avLst/>
          </a:prstGeom>
          <a:solidFill>
            <a:schemeClr val="bg2"/>
          </a:solidFill>
        </p:spPr>
        <p:txBody>
          <a:bodyPr vert="horz" lIns="342900" tIns="68580" rIns="274320" bIns="68580" rtlCol="0" anchor="ctr"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0000"/>
              </a:lnSpc>
            </a:pPr>
            <a:endParaRPr lang="en-US" sz="1200" noProof="1">
              <a:solidFill>
                <a:schemeClr val="accent2">
                  <a:lumMod val="50000"/>
                </a:schemeClr>
              </a:solidFill>
            </a:endParaRPr>
          </a:p>
        </p:txBody>
      </p:sp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90F01E98-25D4-4D14-A9D4-7BCD1589254D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192" y="1191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7772400" imgH="10058400" progId="TCLayout.ActiveDocument.1">
                  <p:embed/>
                </p:oleObj>
              </mc:Choice>
              <mc:Fallback>
                <p:oleObj name="think-cell Slide" r:id="rId12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0F01E98-25D4-4D14-A9D4-7BCD158925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192" y="1191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A935A64D-9349-7E81-5C1B-A95EDCD3FA04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/>
        <p:txBody>
          <a:bodyPr vert="horz" lIns="0" tIns="34290" rIns="0" bIns="3429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noProof="1"/>
              <a:t>Supply Chain Graph Model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Google Shape;703;p114">
                <a:extLst>
                  <a:ext uri="{FF2B5EF4-FFF2-40B4-BE49-F238E27FC236}">
                    <a16:creationId xmlns:a16="http://schemas.microsoft.com/office/drawing/2014/main" id="{2C6AAF22-8B83-97B5-9075-8E66A8CB780C}"/>
                  </a:ext>
                </a:extLst>
              </p:cNvPr>
              <p:cNvSpPr txBox="1"/>
              <p:nvPr>
                <p:custDataLst>
                  <p:tags r:id="rId6"/>
                </p:custDataLst>
              </p:nvPr>
            </p:nvSpPr>
            <p:spPr>
              <a:xfrm>
                <a:off x="5513713" y="634564"/>
                <a:ext cx="3234354" cy="185055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68580" tIns="68580" rIns="68580" bIns="68580" anchor="t" anchorCtr="0">
                <a:noAutofit/>
              </a:bodyPr>
              <a:lstStyle>
                <a:defPPr>
                  <a:defRPr lang="en-US"/>
                </a:defPPr>
                <a:lvl1pPr marL="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9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8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7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6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5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4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3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2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spcAft>
                    <a:spcPts val="150"/>
                  </a:spcAft>
                </a:pPr>
                <a:r>
                  <a:rPr lang="en-US" sz="1200" b="1" noProof="1">
                    <a:solidFill>
                      <a:srgbClr val="125E4B"/>
                    </a:solidFill>
                  </a:rPr>
                  <a:t>Directed Acyclic Graph (</a:t>
                </a:r>
                <a:r>
                  <a:rPr lang="en-US" sz="1200" b="1" i="1" noProof="1">
                    <a:solidFill>
                      <a:srgbClr val="125E4B"/>
                    </a:solidFill>
                  </a:rPr>
                  <a:t>DAG</a:t>
                </a:r>
                <a:r>
                  <a:rPr lang="en-US" sz="1200" b="1" noProof="1">
                    <a:solidFill>
                      <a:srgbClr val="125E4B"/>
                    </a:solidFill>
                  </a:rPr>
                  <a:t>): 	</a:t>
                </a:r>
                <a14:m>
                  <m:oMath xmlns:m="http://schemas.openxmlformats.org/officeDocument/2006/math">
                    <m:r>
                      <a:rPr lang="it-IT" sz="1200" b="0" i="1" noProof="1" smtClean="0">
                        <a:solidFill>
                          <a:srgbClr val="125E4B"/>
                        </a:solidFill>
                        <a:latin typeface="Cambria Math" panose="02040503050406030204" pitchFamily="18" charset="0"/>
                      </a:rPr>
                      <m:t>𝐺</m:t>
                    </m:r>
                    <m:r>
                      <a:rPr lang="it-IT" sz="1200" b="0" i="1" noProof="1" smtClean="0">
                        <a:solidFill>
                          <a:srgbClr val="125E4B"/>
                        </a:solidFill>
                        <a:latin typeface="Cambria Math" panose="02040503050406030204" pitchFamily="18" charset="0"/>
                      </a:rPr>
                      <m:t>=(</m:t>
                    </m:r>
                    <m:r>
                      <a:rPr lang="it-IT" sz="1200" b="0" i="1" noProof="1" smtClean="0">
                        <a:solidFill>
                          <a:srgbClr val="125E4B"/>
                        </a:solidFill>
                        <a:latin typeface="Cambria Math" panose="02040503050406030204" pitchFamily="18" charset="0"/>
                      </a:rPr>
                      <m:t>𝑉</m:t>
                    </m:r>
                    <m:r>
                      <a:rPr lang="it-IT" sz="1200" b="0" i="1" noProof="1" smtClean="0">
                        <a:solidFill>
                          <a:srgbClr val="125E4B"/>
                        </a:solidFill>
                        <a:latin typeface="Cambria Math" panose="02040503050406030204" pitchFamily="18" charset="0"/>
                      </a:rPr>
                      <m:t>, </m:t>
                    </m:r>
                    <m:r>
                      <a:rPr lang="it-IT" sz="1200" b="0" i="1" noProof="1" smtClean="0">
                        <a:solidFill>
                          <a:srgbClr val="125E4B"/>
                        </a:solidFill>
                        <a:latin typeface="Cambria Math" panose="02040503050406030204" pitchFamily="18" charset="0"/>
                      </a:rPr>
                      <m:t>𝐴</m:t>
                    </m:r>
                    <m:r>
                      <a:rPr lang="it-IT" sz="1200" b="0" i="1" noProof="1" smtClean="0">
                        <a:solidFill>
                          <a:srgbClr val="125E4B"/>
                        </a:solidFill>
                        <a:latin typeface="Cambria Math" panose="02040503050406030204" pitchFamily="18" charset="0"/>
                      </a:rPr>
                      <m:t>,</m:t>
                    </m:r>
                    <m:r>
                      <m:rPr>
                        <m:sty m:val="p"/>
                      </m:rPr>
                      <a:rPr lang="it-IT" sz="1200" b="0" i="1" noProof="1" smtClean="0">
                        <a:solidFill>
                          <a:srgbClr val="125E4B"/>
                        </a:solidFill>
                        <a:latin typeface="Cambria Math" panose="02040503050406030204" pitchFamily="18" charset="0"/>
                      </a:rPr>
                      <m:t>C</m:t>
                    </m:r>
                    <m:r>
                      <a:rPr lang="it-IT" sz="1200" b="0" i="1" noProof="1" smtClean="0">
                        <a:solidFill>
                          <a:srgbClr val="125E4B"/>
                        </a:solidFill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r>
                  <a:rPr lang="en-US" sz="1200" noProof="1">
                    <a:solidFill>
                      <a:srgbClr val="125E4B"/>
                    </a:solidFill>
                  </a:rPr>
                  <a:t> with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it-IT" sz="1200" b="0" i="1" noProof="1" smtClean="0">
                        <a:solidFill>
                          <a:srgbClr val="125E4B"/>
                        </a:solidFill>
                        <a:latin typeface="Cambria Math" panose="02040503050406030204" pitchFamily="18" charset="0"/>
                      </a:rPr>
                      <m:t>C</m:t>
                    </m:r>
                  </m:oMath>
                </a14:m>
                <a:r>
                  <a:rPr lang="en-US" sz="1200" noProof="1">
                    <a:solidFill>
                      <a:srgbClr val="125E4B"/>
                    </a:solidFill>
                  </a:rPr>
                  <a:t> the set of all possible carriers.</a:t>
                </a:r>
              </a:p>
              <a:p>
                <a:pPr>
                  <a:lnSpc>
                    <a:spcPct val="200000"/>
                  </a:lnSpc>
                  <a:spcAft>
                    <a:spcPts val="150"/>
                  </a:spcAft>
                </a:pPr>
                <a:r>
                  <a:rPr lang="en-US" sz="1200" noProof="1">
                    <a:solidFill>
                      <a:srgbClr val="125E4B"/>
                    </a:solidFill>
                  </a:rPr>
                  <a:t>Vertices partitioned into: </a:t>
                </a:r>
              </a:p>
              <a:p>
                <a:pPr marL="514350" lvl="1" indent="-171450">
                  <a:spcAft>
                    <a:spcPts val="150"/>
                  </a:spcAft>
                  <a:buFont typeface="Arial" panose="020B0604020202020204" pitchFamily="34" charset="0"/>
                  <a:buChar char="•"/>
                </a:pPr>
                <a:r>
                  <a:rPr lang="en-US" sz="1200" noProof="1">
                    <a:solidFill>
                      <a:srgbClr val="125E4B"/>
                    </a:solidFill>
                  </a:rPr>
                  <a:t>Supplier sites (sources).</a:t>
                </a:r>
              </a:p>
              <a:p>
                <a:pPr marL="514350" lvl="1" indent="-171450">
                  <a:spcAft>
                    <a:spcPts val="150"/>
                  </a:spcAft>
                  <a:buFont typeface="Arial" panose="020B0604020202020204" pitchFamily="34" charset="0"/>
                  <a:buChar char="•"/>
                </a:pPr>
                <a:r>
                  <a:rPr lang="en-US" sz="1200" noProof="1">
                    <a:solidFill>
                      <a:srgbClr val="125E4B"/>
                    </a:solidFill>
                  </a:rPr>
                  <a:t>Intermediate facilities.</a:t>
                </a:r>
              </a:p>
              <a:p>
                <a:pPr marL="514350" lvl="1" indent="-171450">
                  <a:spcAft>
                    <a:spcPts val="150"/>
                  </a:spcAft>
                  <a:buFont typeface="Arial" panose="020B0604020202020204" pitchFamily="34" charset="0"/>
                  <a:buChar char="•"/>
                </a:pPr>
                <a:r>
                  <a:rPr lang="en-US" sz="1200" noProof="1">
                    <a:solidFill>
                      <a:srgbClr val="125E4B"/>
                    </a:solidFill>
                  </a:rPr>
                  <a:t>Manufacturer (sink).</a:t>
                </a:r>
              </a:p>
              <a:p>
                <a:pPr marL="514350" lvl="1" indent="-171450">
                  <a:spcAft>
                    <a:spcPts val="150"/>
                  </a:spcAft>
                  <a:buFont typeface="Arial" panose="020B0604020202020204" pitchFamily="34" charset="0"/>
                  <a:buChar char="•"/>
                </a:pPr>
                <a:endParaRPr lang="en-US" sz="1200" noProof="1">
                  <a:solidFill>
                    <a:srgbClr val="125E4B"/>
                  </a:solidFill>
                </a:endParaRPr>
              </a:p>
              <a:p>
                <a:pPr lvl="1">
                  <a:spcAft>
                    <a:spcPts val="15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it-IT" sz="1200" b="0" i="1" noProof="1" smtClean="0">
                          <a:solidFill>
                            <a:srgbClr val="125E4B"/>
                          </a:solidFill>
                          <a:latin typeface="Cambria Math" panose="02040503050406030204" pitchFamily="18" charset="0"/>
                        </a:rPr>
                        <m:t>𝑉</m:t>
                      </m:r>
                      <m:r>
                        <a:rPr lang="it-IT" sz="1200" b="0" i="1" noProof="1" smtClean="0">
                          <a:solidFill>
                            <a:srgbClr val="125E4B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it-IT" sz="1200" b="0" i="1" noProof="1" smtClean="0">
                          <a:solidFill>
                            <a:srgbClr val="125E4B"/>
                          </a:solidFill>
                          <a:latin typeface="Cambria Math" panose="02040503050406030204" pitchFamily="18" charset="0"/>
                        </a:rPr>
                        <m:t>𝑆</m:t>
                      </m:r>
                      <m:r>
                        <a:rPr lang="it-IT" sz="1200" b="0" i="1" noProof="1" smtClean="0">
                          <a:solidFill>
                            <a:srgbClr val="125E4B"/>
                          </a:solidFill>
                          <a:latin typeface="Cambria Math" panose="02040503050406030204" pitchFamily="18" charset="0"/>
                        </a:rPr>
                        <m:t>∪</m:t>
                      </m:r>
                      <m:r>
                        <a:rPr lang="it-IT" sz="1200" b="0" i="1" noProof="1" smtClean="0">
                          <a:solidFill>
                            <a:srgbClr val="125E4B"/>
                          </a:solidFill>
                          <a:latin typeface="Cambria Math" panose="02040503050406030204" pitchFamily="18" charset="0"/>
                        </a:rPr>
                        <m:t>𝐼</m:t>
                      </m:r>
                      <m:r>
                        <a:rPr lang="it-IT" sz="1200" b="0" i="1" noProof="1" smtClean="0">
                          <a:solidFill>
                            <a:srgbClr val="125E4B"/>
                          </a:solidFill>
                          <a:latin typeface="Cambria Math" panose="02040503050406030204" pitchFamily="18" charset="0"/>
                        </a:rPr>
                        <m:t>∪</m:t>
                      </m:r>
                      <m:r>
                        <m:rPr>
                          <m:lit/>
                        </m:rPr>
                        <a:rPr lang="it-IT" sz="1200" b="0" i="1" noProof="1" smtClean="0">
                          <a:solidFill>
                            <a:srgbClr val="125E4B"/>
                          </a:solidFill>
                          <a:latin typeface="Cambria Math" panose="02040503050406030204" pitchFamily="18" charset="0"/>
                        </a:rPr>
                        <m:t>{</m:t>
                      </m:r>
                      <m:r>
                        <a:rPr lang="it-IT" sz="1200" b="0" i="1" noProof="1" smtClean="0">
                          <a:solidFill>
                            <a:srgbClr val="125E4B"/>
                          </a:solidFill>
                          <a:latin typeface="Cambria Math" panose="02040503050406030204" pitchFamily="18" charset="0"/>
                        </a:rPr>
                        <m:t>𝑚</m:t>
                      </m:r>
                      <m:r>
                        <m:rPr>
                          <m:lit/>
                        </m:rPr>
                        <a:rPr lang="it-IT" sz="1200" b="0" i="1" noProof="1" smtClean="0">
                          <a:solidFill>
                            <a:srgbClr val="125E4B"/>
                          </a:solidFill>
                          <a:latin typeface="Cambria Math" panose="02040503050406030204" pitchFamily="18" charset="0"/>
                        </a:rPr>
                        <m:t>}</m:t>
                      </m:r>
                    </m:oMath>
                  </m:oMathPara>
                </a14:m>
                <a:endParaRPr lang="en-US" sz="1200" noProof="1">
                  <a:solidFill>
                    <a:srgbClr val="125E4B"/>
                  </a:solidFill>
                </a:endParaRPr>
              </a:p>
            </p:txBody>
          </p:sp>
        </mc:Choice>
        <mc:Fallback xmlns="">
          <p:sp>
            <p:nvSpPr>
              <p:cNvPr id="7" name="Google Shape;703;p114">
                <a:extLst>
                  <a:ext uri="{FF2B5EF4-FFF2-40B4-BE49-F238E27FC236}">
                    <a16:creationId xmlns:a16="http://schemas.microsoft.com/office/drawing/2014/main" id="{2C6AAF22-8B83-97B5-9075-8E66A8CB780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>
                <p:custDataLst>
                  <p:tags r:id="rId14"/>
                </p:custDataLst>
              </p:nvPr>
            </p:nvSpPr>
            <p:spPr>
              <a:xfrm>
                <a:off x="5513713" y="634564"/>
                <a:ext cx="3234354" cy="1850556"/>
              </a:xfrm>
              <a:prstGeom prst="rect">
                <a:avLst/>
              </a:prstGeom>
              <a:blipFill>
                <a:blip r:embed="rId15"/>
                <a:stretch>
                  <a:fillRect l="-753" b="-4605"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1" name="Google Shape;10527;p9415">
            <a:extLst>
              <a:ext uri="{FF2B5EF4-FFF2-40B4-BE49-F238E27FC236}">
                <a16:creationId xmlns:a16="http://schemas.microsoft.com/office/drawing/2014/main" id="{4AF9F62B-A3D1-93B9-6D53-75083F3B39D6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4294408" y="603246"/>
            <a:ext cx="1055828" cy="1968504"/>
          </a:xfrm>
          <a:prstGeom prst="rect">
            <a:avLst/>
          </a:prstGeom>
          <a:solidFill>
            <a:schemeClr val="accent1"/>
          </a:solidFill>
          <a:ln>
            <a:solidFill>
              <a:schemeClr val="bg1"/>
            </a:solidFill>
          </a:ln>
        </p:spPr>
        <p:txBody>
          <a:bodyPr spcFirstLastPara="1" wrap="square" lIns="68580" tIns="68580" rIns="68580" bIns="68580" anchor="t" anchorCtr="0"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b="1" noProof="1">
                <a:solidFill>
                  <a:schemeClr val="bg1"/>
                </a:solidFill>
                <a:latin typeface="+mj-lt"/>
              </a:rPr>
              <a:t>Graph Structure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7" name="Google Shape;703;p114">
                <a:extLst>
                  <a:ext uri="{FF2B5EF4-FFF2-40B4-BE49-F238E27FC236}">
                    <a16:creationId xmlns:a16="http://schemas.microsoft.com/office/drawing/2014/main" id="{D7AFA29D-DD90-72E8-2F5D-DA33CD13CAC6}"/>
                  </a:ext>
                </a:extLst>
              </p:cNvPr>
              <p:cNvSpPr txBox="1"/>
              <p:nvPr>
                <p:custDataLst>
                  <p:tags r:id="rId8"/>
                </p:custDataLst>
              </p:nvPr>
            </p:nvSpPr>
            <p:spPr>
              <a:xfrm>
                <a:off x="5513713" y="2718181"/>
                <a:ext cx="3285006" cy="177760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68580" tIns="68580" rIns="68580" bIns="68580" anchor="t" anchorCtr="0">
                <a:noAutofit/>
              </a:bodyPr>
              <a:lstStyle>
                <a:defPPr>
                  <a:defRPr lang="en-US"/>
                </a:defPPr>
                <a:lvl1pPr marL="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9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8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7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6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5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4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3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2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spcAft>
                    <a:spcPts val="150"/>
                  </a:spcAft>
                </a:pPr>
                <a:r>
                  <a:rPr lang="en-US" sz="1200" b="1" noProof="1">
                    <a:solidFill>
                      <a:srgbClr val="125E4B"/>
                    </a:solidFill>
                  </a:rPr>
                  <a:t>Flow function</a:t>
                </a:r>
                <a:r>
                  <a:rPr lang="en-US" sz="1200" noProof="1">
                    <a:solidFill>
                      <a:srgbClr val="125E4B"/>
                    </a:solidFill>
                  </a:rPr>
                  <a:t> indicating the number of shipments transited through a given edge.</a:t>
                </a:r>
              </a:p>
              <a:p>
                <a:pPr lvl="1">
                  <a:spcAft>
                    <a:spcPts val="15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it-IT" sz="1200" b="0" i="1" noProof="1" smtClean="0">
                          <a:solidFill>
                            <a:srgbClr val="125E4B"/>
                          </a:solidFill>
                          <a:latin typeface="Cambria Math" panose="02040503050406030204" pitchFamily="18" charset="0"/>
                        </a:rPr>
                        <m:t>𝑓</m:t>
                      </m:r>
                      <m:r>
                        <a:rPr lang="it-IT" sz="1200" b="0" i="1" noProof="1" smtClean="0">
                          <a:solidFill>
                            <a:srgbClr val="125E4B"/>
                          </a:solidFill>
                          <a:latin typeface="Cambria Math" panose="02040503050406030204" pitchFamily="18" charset="0"/>
                        </a:rPr>
                        <m:t>:</m:t>
                      </m:r>
                      <m:r>
                        <a:rPr lang="it-IT" sz="1200" b="0" i="1" noProof="1" smtClean="0">
                          <a:solidFill>
                            <a:srgbClr val="125E4B"/>
                          </a:solidFill>
                          <a:latin typeface="Cambria Math" panose="02040503050406030204" pitchFamily="18" charset="0"/>
                        </a:rPr>
                        <m:t>𝐴</m:t>
                      </m:r>
                      <m:r>
                        <a:rPr lang="it-IT" sz="1200" b="0" i="1" noProof="1" smtClean="0">
                          <a:solidFill>
                            <a:srgbClr val="125E4B"/>
                          </a:solidFill>
                          <a:latin typeface="Cambria Math" panose="02040503050406030204" pitchFamily="18" charset="0"/>
                        </a:rPr>
                        <m:t>→</m:t>
                      </m:r>
                      <m:r>
                        <a:rPr lang="it-IT" sz="1200" b="0" i="1" noProof="1" smtClean="0">
                          <a:solidFill>
                            <a:srgbClr val="125E4B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ℕ</m:t>
                      </m:r>
                    </m:oMath>
                  </m:oMathPara>
                </a14:m>
                <a:endParaRPr lang="it-IT" sz="1200" b="0" noProof="1">
                  <a:solidFill>
                    <a:srgbClr val="125E4B"/>
                  </a:solidFill>
                </a:endParaRPr>
              </a:p>
              <a:p>
                <a:pPr lvl="1">
                  <a:spcAft>
                    <a:spcPts val="150"/>
                  </a:spcAft>
                </a:pPr>
                <a:endParaRPr lang="it-IT" sz="1200" b="0" noProof="1">
                  <a:solidFill>
                    <a:srgbClr val="125E4B"/>
                  </a:solidFill>
                </a:endParaRPr>
              </a:p>
              <a:p>
                <a:pPr>
                  <a:spcAft>
                    <a:spcPts val="150"/>
                  </a:spcAft>
                </a:pPr>
                <a:r>
                  <a:rPr lang="it-IT" sz="1200" b="1" noProof="1">
                    <a:solidFill>
                      <a:srgbClr val="125E4B"/>
                    </a:solidFill>
                  </a:rPr>
                  <a:t>Flow conservation</a:t>
                </a:r>
                <a:r>
                  <a:rPr lang="it-IT" sz="1200" noProof="1">
                    <a:solidFill>
                      <a:srgbClr val="125E4B"/>
                    </a:solidFill>
                  </a:rPr>
                  <a:t> </a:t>
                </a:r>
                <a:r>
                  <a:rPr lang="it-IT" sz="1200" b="0" noProof="1">
                    <a:solidFill>
                      <a:srgbClr val="125E4B"/>
                    </a:solidFill>
                  </a:rPr>
                  <a:t>on intermediates vertices </a:t>
                </a:r>
                <a:r>
                  <a:rPr lang="en-US" sz="1200" noProof="1">
                    <a:solidFill>
                      <a:srgbClr val="125E4B"/>
                    </a:solidFill>
                  </a:rPr>
                  <a:t>guarantees no loss or duplication in shipments.</a:t>
                </a:r>
              </a:p>
              <a:p>
                <a:pPr lvl="1">
                  <a:spcAft>
                    <a:spcPts val="15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nary>
                        <m:naryPr>
                          <m:chr m:val="∑"/>
                          <m:supHide m:val="on"/>
                          <m:ctrlPr>
                            <a:rPr lang="it-IT" sz="1200" b="0" i="1" noProof="1" smtClean="0">
                              <a:solidFill>
                                <a:srgbClr val="125E4B"/>
                              </a:solidFill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d>
                            <m:dPr>
                              <m:ctrlPr>
                                <a:rPr lang="it-IT" sz="1200" b="0" i="1" noProof="1" smtClean="0">
                                  <a:solidFill>
                                    <a:srgbClr val="125E4B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m:rPr>
                                  <m:brk m:alnAt="7"/>
                                </m:rPr>
                                <a:rPr lang="it-IT" sz="1200" b="0" i="1" noProof="1" smtClean="0">
                                  <a:solidFill>
                                    <a:srgbClr val="125E4B"/>
                                  </a:solidFill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  <m:r>
                                <a:rPr lang="it-IT" sz="1200" b="0" i="1" noProof="1" smtClean="0">
                                  <a:solidFill>
                                    <a:srgbClr val="125E4B"/>
                                  </a:solidFill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it-IT" sz="1200" b="0" i="1" noProof="1" smtClean="0">
                                  <a:solidFill>
                                    <a:srgbClr val="125E4B"/>
                                  </a:solidFill>
                                  <a:latin typeface="Cambria Math" panose="02040503050406030204" pitchFamily="18" charset="0"/>
                                </a:rPr>
                                <m:t>, </m:t>
                              </m:r>
                              <m:r>
                                <a:rPr lang="it-IT" sz="1200" b="0" i="1" noProof="1" smtClean="0">
                                  <a:solidFill>
                                    <a:srgbClr val="125E4B"/>
                                  </a:solidFill>
                                  <a:latin typeface="Cambria Math" panose="02040503050406030204" pitchFamily="18" charset="0"/>
                                </a:rPr>
                                <m:t>𝑣</m:t>
                              </m:r>
                            </m:e>
                          </m:d>
                          <m:r>
                            <a:rPr lang="it-IT" sz="1200" b="0" i="1" noProof="1" smtClean="0">
                              <a:solidFill>
                                <a:srgbClr val="125E4B"/>
                              </a:solidFill>
                              <a:latin typeface="Cambria Math" panose="02040503050406030204" pitchFamily="18" charset="0"/>
                            </a:rPr>
                            <m:t>∈</m:t>
                          </m:r>
                          <m:r>
                            <a:rPr lang="it-IT" sz="1200" b="0" i="1" noProof="1" smtClean="0">
                              <a:solidFill>
                                <a:srgbClr val="125E4B"/>
                              </a:solidFill>
                              <a:latin typeface="Cambria Math" panose="02040503050406030204" pitchFamily="18" charset="0"/>
                            </a:rPr>
                            <m:t>𝐴</m:t>
                          </m:r>
                        </m:sub>
                        <m:sup/>
                        <m:e>
                          <m:r>
                            <a:rPr lang="it-IT" sz="1200" b="0" i="1" noProof="1" smtClean="0">
                              <a:solidFill>
                                <a:srgbClr val="125E4B"/>
                              </a:solidFill>
                              <a:latin typeface="Cambria Math" panose="02040503050406030204" pitchFamily="18" charset="0"/>
                            </a:rPr>
                            <m:t>𝑓</m:t>
                          </m:r>
                          <m:d>
                            <m:dPr>
                              <m:ctrlPr>
                                <a:rPr lang="it-IT" sz="1200" b="0" i="1" noProof="1" smtClean="0">
                                  <a:solidFill>
                                    <a:srgbClr val="125E4B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it-IT" sz="1200" b="0" i="1" noProof="1" smtClean="0">
                                  <a:solidFill>
                                    <a:srgbClr val="125E4B"/>
                                  </a:solidFill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it-IT" sz="1200" b="0" i="1" noProof="1" smtClean="0">
                                  <a:solidFill>
                                    <a:srgbClr val="125E4B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it-IT" sz="1200" b="0" i="1" noProof="1" smtClean="0">
                                  <a:solidFill>
                                    <a:srgbClr val="125E4B"/>
                                  </a:solidFill>
                                  <a:latin typeface="Cambria Math" panose="02040503050406030204" pitchFamily="18" charset="0"/>
                                </a:rPr>
                                <m:t>𝑣</m:t>
                              </m:r>
                            </m:e>
                          </m:d>
                          <m:r>
                            <a:rPr lang="it-IT" sz="1200" b="0" i="1" noProof="1" smtClean="0">
                              <a:solidFill>
                                <a:srgbClr val="125E4B"/>
                              </a:solidFill>
                              <a:latin typeface="Cambria Math" panose="02040503050406030204" pitchFamily="18" charset="0"/>
                            </a:rPr>
                            <m:t>=</m:t>
                          </m:r>
                        </m:e>
                      </m:nary>
                      <m:nary>
                        <m:naryPr>
                          <m:chr m:val="∑"/>
                          <m:supHide m:val="on"/>
                          <m:ctrlPr>
                            <a:rPr lang="it-IT" sz="1200" i="1" noProof="1" smtClean="0">
                              <a:solidFill>
                                <a:srgbClr val="125E4B"/>
                              </a:solidFill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d>
                            <m:dPr>
                              <m:ctrlPr>
                                <a:rPr lang="it-IT" sz="1200" i="1" noProof="1">
                                  <a:solidFill>
                                    <a:srgbClr val="125E4B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m:rPr>
                                  <m:brk m:alnAt="7"/>
                                </m:rPr>
                                <a:rPr lang="it-IT" sz="1200" i="1" noProof="1">
                                  <a:solidFill>
                                    <a:srgbClr val="125E4B"/>
                                  </a:solidFill>
                                  <a:latin typeface="Cambria Math" panose="02040503050406030204" pitchFamily="18" charset="0"/>
                                </a:rPr>
                                <m:t>𝑣</m:t>
                              </m:r>
                              <m:r>
                                <a:rPr lang="it-IT" sz="1200" i="1" noProof="1">
                                  <a:solidFill>
                                    <a:srgbClr val="125E4B"/>
                                  </a:solidFill>
                                  <a:latin typeface="Cambria Math" panose="02040503050406030204" pitchFamily="18" charset="0"/>
                                </a:rPr>
                                <m:t>, </m:t>
                              </m:r>
                              <m:r>
                                <a:rPr lang="it-IT" sz="1200" b="0" i="1" noProof="1" smtClean="0">
                                  <a:solidFill>
                                    <a:srgbClr val="125E4B"/>
                                  </a:solidFill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e>
                          </m:d>
                          <m:r>
                            <a:rPr lang="it-IT" sz="1200" i="1" noProof="1">
                              <a:solidFill>
                                <a:srgbClr val="125E4B"/>
                              </a:solidFill>
                              <a:latin typeface="Cambria Math" panose="02040503050406030204" pitchFamily="18" charset="0"/>
                            </a:rPr>
                            <m:t>∈</m:t>
                          </m:r>
                          <m:r>
                            <a:rPr lang="it-IT" sz="1200" i="1" noProof="1">
                              <a:solidFill>
                                <a:srgbClr val="125E4B"/>
                              </a:solidFill>
                              <a:latin typeface="Cambria Math" panose="02040503050406030204" pitchFamily="18" charset="0"/>
                            </a:rPr>
                            <m:t>𝐴</m:t>
                          </m:r>
                        </m:sub>
                        <m:sup/>
                        <m:e>
                          <m:r>
                            <a:rPr lang="it-IT" sz="1200" i="1" noProof="1">
                              <a:solidFill>
                                <a:srgbClr val="125E4B"/>
                              </a:solidFill>
                              <a:latin typeface="Cambria Math" panose="02040503050406030204" pitchFamily="18" charset="0"/>
                            </a:rPr>
                            <m:t>𝑓</m:t>
                          </m:r>
                          <m:d>
                            <m:dPr>
                              <m:ctrlPr>
                                <a:rPr lang="it-IT" sz="1200" i="1" noProof="1">
                                  <a:solidFill>
                                    <a:srgbClr val="125E4B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it-IT" sz="1200" i="1" noProof="1">
                                  <a:solidFill>
                                    <a:srgbClr val="125E4B"/>
                                  </a:solidFill>
                                  <a:latin typeface="Cambria Math" panose="02040503050406030204" pitchFamily="18" charset="0"/>
                                </a:rPr>
                                <m:t>𝑣</m:t>
                              </m:r>
                              <m:r>
                                <a:rPr lang="it-IT" sz="1200" i="1" noProof="1">
                                  <a:solidFill>
                                    <a:srgbClr val="125E4B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it-IT" sz="1200" b="0" i="1" noProof="1" smtClean="0">
                                  <a:solidFill>
                                    <a:srgbClr val="125E4B"/>
                                  </a:solidFill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e>
                          </m:d>
                          <m:r>
                            <a:rPr lang="it-IT" sz="1200" b="0" i="1" noProof="1" smtClean="0">
                              <a:solidFill>
                                <a:srgbClr val="125E4B"/>
                              </a:solidFill>
                              <a:latin typeface="Cambria Math" panose="02040503050406030204" pitchFamily="18" charset="0"/>
                            </a:rPr>
                            <m:t>,  ∀</m:t>
                          </m:r>
                          <m:r>
                            <a:rPr lang="it-IT" sz="1200" b="0" i="1" noProof="1" smtClean="0">
                              <a:solidFill>
                                <a:srgbClr val="125E4B"/>
                              </a:solidFill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it-IT" sz="1200" b="0" i="1" noProof="1" smtClean="0">
                              <a:solidFill>
                                <a:srgbClr val="125E4B"/>
                              </a:solidFill>
                              <a:latin typeface="Cambria Math" panose="02040503050406030204" pitchFamily="18" charset="0"/>
                            </a:rPr>
                            <m:t>∈</m:t>
                          </m:r>
                          <m:r>
                            <a:rPr lang="it-IT" sz="1200" b="0" i="1" noProof="1" smtClean="0">
                              <a:solidFill>
                                <a:srgbClr val="125E4B"/>
                              </a:solidFill>
                              <a:latin typeface="Cambria Math" panose="02040503050406030204" pitchFamily="18" charset="0"/>
                            </a:rPr>
                            <m:t>𝐼</m:t>
                          </m:r>
                        </m:e>
                      </m:nary>
                    </m:oMath>
                  </m:oMathPara>
                </a14:m>
                <a:endParaRPr lang="it-IT" sz="1200" b="0" noProof="1"/>
              </a:p>
              <a:p>
                <a:pPr marL="514350" lvl="1" indent="-171450">
                  <a:spcAft>
                    <a:spcPts val="150"/>
                  </a:spcAft>
                  <a:buFont typeface="Arial" panose="020B0604020202020204" pitchFamily="34" charset="0"/>
                  <a:buChar char="•"/>
                </a:pPr>
                <a:endParaRPr lang="en-US" sz="1200" noProof="1"/>
              </a:p>
              <a:p>
                <a:pPr>
                  <a:spcAft>
                    <a:spcPts val="150"/>
                  </a:spcAft>
                </a:pPr>
                <a:endParaRPr lang="en-US" sz="1200" noProof="1"/>
              </a:p>
            </p:txBody>
          </p:sp>
        </mc:Choice>
        <mc:Fallback>
          <p:sp>
            <p:nvSpPr>
              <p:cNvPr id="17" name="Google Shape;703;p114">
                <a:extLst>
                  <a:ext uri="{FF2B5EF4-FFF2-40B4-BE49-F238E27FC236}">
                    <a16:creationId xmlns:a16="http://schemas.microsoft.com/office/drawing/2014/main" id="{D7AFA29D-DD90-72E8-2F5D-DA33CD13CAC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>
                <p:custDataLst>
                  <p:tags r:id="rId8"/>
                </p:custDataLst>
              </p:nvPr>
            </p:nvSpPr>
            <p:spPr>
              <a:xfrm>
                <a:off x="5513713" y="2718181"/>
                <a:ext cx="3285006" cy="1777606"/>
              </a:xfrm>
              <a:prstGeom prst="rect">
                <a:avLst/>
              </a:prstGeom>
              <a:blipFill>
                <a:blip r:embed="rId16"/>
                <a:stretch>
                  <a:fillRect l="-2597" b="-49141"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BE42DB70-AE1B-2487-3EB5-963B49AE89B9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>
          <a:xfrm>
            <a:off x="342900" y="255537"/>
            <a:ext cx="8455819" cy="155515"/>
          </a:xfrm>
          <a:prstGeom prst="rect">
            <a:avLst/>
          </a:prstGeom>
        </p:spPr>
        <p:txBody>
          <a:bodyPr vert="horz" lIns="0" tIns="0" rIns="68580" bIns="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000" cap="all" noProof="1">
                <a:solidFill>
                  <a:schemeClr val="accent1"/>
                </a:solidFill>
                <a:latin typeface="Aptos" panose="020B0004020202020204" pitchFamily="34" charset="0"/>
              </a:rPr>
              <a:t>Supply CHAIN Modeling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D9E329A9-BE56-0E56-84A8-02B334647665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262288" y="1030426"/>
            <a:ext cx="3783668" cy="3184543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E9BEB7FB-3029-BE92-420B-9F551234FE8E}"/>
              </a:ext>
            </a:extLst>
          </p:cNvPr>
          <p:cNvSpPr txBox="1"/>
          <p:nvPr/>
        </p:nvSpPr>
        <p:spPr>
          <a:xfrm>
            <a:off x="2527300" y="3753304"/>
            <a:ext cx="1518656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000" dirty="0">
                <a:solidFill>
                  <a:srgbClr val="FF0000"/>
                </a:solidFill>
                <a:latin typeface="+mn-lt"/>
              </a:rPr>
              <a:t>Supplier </a:t>
            </a:r>
            <a:r>
              <a:rPr lang="it-IT" sz="1000" dirty="0" err="1">
                <a:solidFill>
                  <a:srgbClr val="FF0000"/>
                </a:solidFill>
                <a:latin typeface="+mn-lt"/>
              </a:rPr>
              <a:t>sites</a:t>
            </a:r>
            <a:endParaRPr lang="it-IT" sz="1000" dirty="0">
              <a:solidFill>
                <a:schemeClr val="tx1"/>
              </a:solidFill>
              <a:latin typeface="+mn-lt"/>
            </a:endParaRPr>
          </a:p>
          <a:p>
            <a:r>
              <a:rPr lang="it-IT" sz="1000" dirty="0">
                <a:solidFill>
                  <a:srgbClr val="00B0F0"/>
                </a:solidFill>
                <a:latin typeface="+mn-lt"/>
              </a:rPr>
              <a:t>Intermediate locations </a:t>
            </a:r>
          </a:p>
          <a:p>
            <a:r>
              <a:rPr lang="it-IT" sz="1000" dirty="0" err="1">
                <a:solidFill>
                  <a:srgbClr val="00B050"/>
                </a:solidFill>
                <a:latin typeface="+mn-lt"/>
              </a:rPr>
              <a:t>Manufacturer</a:t>
            </a:r>
            <a:endParaRPr lang="en-US" sz="10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0" name="Google Shape;10527;p9415">
            <a:extLst>
              <a:ext uri="{FF2B5EF4-FFF2-40B4-BE49-F238E27FC236}">
                <a16:creationId xmlns:a16="http://schemas.microsoft.com/office/drawing/2014/main" id="{F61A6476-139B-6CD3-91BC-9F2FD68320A3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4294408" y="2718181"/>
            <a:ext cx="1055828" cy="182207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68580" tIns="68580" rIns="68580" bIns="68580" anchor="t" anchorCtr="0"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noProof="1">
                <a:solidFill>
                  <a:schemeClr val="bg1"/>
                </a:solidFill>
                <a:latin typeface="+mj-lt"/>
              </a:rPr>
              <a:t>Shipments Flow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5854055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8578279-0B4E-813A-2EBE-EF73E3F080D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FB5C79D2-965A-2B21-9A3A-75F5652FB38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1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7772400" imgH="10058400" progId="TCLayout.ActiveDocument.1">
                  <p:embed/>
                </p:oleObj>
              </mc:Choice>
              <mc:Fallback>
                <p:oleObj name="think-cell Slide" r:id="rId11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B5C79D2-965A-2B21-9A3A-75F5652FB3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2" y="1191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85F0BC73-D1C8-99B9-AEAA-090EFE260D01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342900" y="411480"/>
            <a:ext cx="8455914" cy="370332"/>
          </a:xfrm>
        </p:spPr>
        <p:txBody>
          <a:bodyPr vert="horz" lIns="0" tIns="34290" rIns="0" bIns="3429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noProof="1"/>
              <a:t>Markov Chain Routing Model (1)</a:t>
            </a:r>
          </a:p>
        </p:txBody>
      </p:sp>
      <p:sp>
        <p:nvSpPr>
          <p:cNvPr id="29" name="Google Shape;10527;p9415">
            <a:extLst>
              <a:ext uri="{FF2B5EF4-FFF2-40B4-BE49-F238E27FC236}">
                <a16:creationId xmlns:a16="http://schemas.microsoft.com/office/drawing/2014/main" id="{F643E849-CBAB-0F37-9978-26D6C617F039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223250" y="997837"/>
            <a:ext cx="649004" cy="504061"/>
          </a:xfrm>
          <a:prstGeom prst="chevron">
            <a:avLst/>
          </a:prstGeom>
          <a:solidFill>
            <a:schemeClr val="bg2"/>
          </a:solidFill>
          <a:ln>
            <a:noFill/>
          </a:ln>
        </p:spPr>
        <p:txBody>
          <a:bodyPr spcFirstLastPara="1" wrap="square" lIns="68580" tIns="34290" rIns="34290" bIns="34290" anchor="ctr" anchorCtr="0"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ts val="1100"/>
            </a:pPr>
            <a:endParaRPr lang="en-US" sz="1400" noProof="1">
              <a:solidFill>
                <a:srgbClr val="4F8161"/>
              </a:solidFill>
              <a:latin typeface="+mj-lt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2" name="Google Shape;703;p114">
                <a:extLst>
                  <a:ext uri="{FF2B5EF4-FFF2-40B4-BE49-F238E27FC236}">
                    <a16:creationId xmlns:a16="http://schemas.microsoft.com/office/drawing/2014/main" id="{0CB8B2B5-4DD5-D52F-5C9D-E8DE884AA5E8}"/>
                  </a:ext>
                </a:extLst>
              </p:cNvPr>
              <p:cNvSpPr txBox="1"/>
              <p:nvPr>
                <p:custDataLst>
                  <p:tags r:id="rId5"/>
                </p:custDataLst>
              </p:nvPr>
            </p:nvSpPr>
            <p:spPr>
              <a:xfrm>
                <a:off x="1172228" y="1651000"/>
                <a:ext cx="6794499" cy="225425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68580" tIns="68580" rIns="68580" bIns="34290" anchor="t" anchorCtr="0">
                <a:normAutofit fontScale="70000" lnSpcReduction="20000"/>
              </a:bodyPr>
              <a:lstStyle>
                <a:defPPr>
                  <a:defRPr lang="en-US"/>
                </a:defPPr>
                <a:lvl1pPr marL="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9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8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7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6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5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4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3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2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spcAft>
                    <a:spcPts val="300"/>
                  </a:spcAft>
                </a:pPr>
                <a:r>
                  <a:rPr lang="en-US" sz="1700" noProof="1"/>
                  <a:t>Shipment flow function used to estimate the </a:t>
                </a:r>
                <a:r>
                  <a:rPr lang="en-US" sz="1700" b="1" noProof="1"/>
                  <a:t>empirical probabilities</a:t>
                </a:r>
                <a:r>
                  <a:rPr lang="en-US" sz="1700" noProof="1"/>
                  <a:t> of transition:</a:t>
                </a:r>
              </a:p>
              <a:p>
                <a:pPr>
                  <a:spcAft>
                    <a:spcPts val="3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it-IT" sz="1700" i="1" noProof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it-IT" sz="1700" i="1" noProof="1">
                              <a:latin typeface="Cambria Math" panose="02040503050406030204" pitchFamily="18" charset="0"/>
                            </a:rPr>
                            <m:t>𝑃</m:t>
                          </m:r>
                        </m:e>
                        <m:sub>
                          <m:r>
                            <a:rPr lang="it-IT" sz="1700" i="1" noProof="1">
                              <a:latin typeface="Cambria Math" panose="02040503050406030204" pitchFamily="18" charset="0"/>
                            </a:rPr>
                            <m:t>𝑣𝑢</m:t>
                          </m:r>
                        </m:sub>
                      </m:sSub>
                      <m:r>
                        <a:rPr lang="it-IT" sz="1700" i="1" noProof="1">
                          <a:latin typeface="Cambria Math" panose="02040503050406030204" pitchFamily="18" charset="0"/>
                        </a:rPr>
                        <m:t>= </m:t>
                      </m:r>
                      <m:f>
                        <m:fPr>
                          <m:ctrlPr>
                            <a:rPr lang="it-IT" sz="1700" i="1" noProof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it-IT" sz="1700" i="1" noProof="1">
                              <a:latin typeface="Cambria Math" panose="02040503050406030204" pitchFamily="18" charset="0"/>
                            </a:rPr>
                            <m:t>𝑓</m:t>
                          </m:r>
                          <m:r>
                            <a:rPr lang="it-IT" sz="1700" i="1" noProof="1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it-IT" sz="1700" i="1" noProof="1">
                              <a:latin typeface="Cambria Math" panose="02040503050406030204" pitchFamily="18" charset="0"/>
                            </a:rPr>
                            <m:t>𝑣</m:t>
                          </m:r>
                          <m:r>
                            <a:rPr lang="it-IT" sz="1700" i="1" noProof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it-IT" sz="1700" i="1" noProof="1">
                              <a:latin typeface="Cambria Math" panose="02040503050406030204" pitchFamily="18" charset="0"/>
                            </a:rPr>
                            <m:t>𝑢</m:t>
                          </m:r>
                          <m:r>
                            <a:rPr lang="it-IT" sz="1700" i="1" noProof="1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sSub>
                            <m:sSubPr>
                              <m:ctrlPr>
                                <a:rPr lang="it-IT" sz="1700" i="1" noProof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it-IT" sz="1700" i="1" noProof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e>
                            <m:sub>
                              <m:r>
                                <a:rPr lang="it-IT" sz="1700" i="1" noProof="1">
                                  <a:latin typeface="Cambria Math" panose="02040503050406030204" pitchFamily="18" charset="0"/>
                                </a:rPr>
                                <m:t>𝑣</m:t>
                              </m:r>
                            </m:sub>
                          </m:sSub>
                          <m:r>
                            <a:rPr lang="it-IT" sz="1700" i="1" noProof="1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it-IT" sz="1700" i="1" noProof="1">
                              <a:latin typeface="Cambria Math" panose="02040503050406030204" pitchFamily="18" charset="0"/>
                            </a:rPr>
                            <m:t>𝑣</m:t>
                          </m:r>
                          <m:r>
                            <a:rPr lang="it-IT" sz="1700" i="1" noProof="1">
                              <a:latin typeface="Cambria Math" panose="02040503050406030204" pitchFamily="18" charset="0"/>
                            </a:rPr>
                            <m:t>)</m:t>
                          </m:r>
                        </m:den>
                      </m:f>
                      <m:r>
                        <a:rPr lang="it-IT" sz="1700" i="1" noProof="1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it-IT" sz="1700" i="1" noProof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it-IT" sz="1700" i="1" noProof="1">
                              <a:latin typeface="Cambria Math" panose="02040503050406030204" pitchFamily="18" charset="0"/>
                            </a:rPr>
                            <m:t>𝑓</m:t>
                          </m:r>
                          <m:r>
                            <a:rPr lang="it-IT" sz="1700" i="1" noProof="1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it-IT" sz="1700" i="1" noProof="1">
                              <a:latin typeface="Cambria Math" panose="02040503050406030204" pitchFamily="18" charset="0"/>
                            </a:rPr>
                            <m:t>𝑣</m:t>
                          </m:r>
                          <m:r>
                            <a:rPr lang="it-IT" sz="1700" i="1" noProof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it-IT" sz="1700" i="1" noProof="1">
                              <a:latin typeface="Cambria Math" panose="02040503050406030204" pitchFamily="18" charset="0"/>
                            </a:rPr>
                            <m:t>𝑢</m:t>
                          </m:r>
                          <m:r>
                            <a:rPr lang="it-IT" sz="1700" i="1" noProof="1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nary>
                            <m:naryPr>
                              <m:chr m:val="∑"/>
                              <m:supHide m:val="on"/>
                              <m:ctrlPr>
                                <a:rPr lang="it-IT" sz="1700" i="1" noProof="1"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>
                              <m:d>
                                <m:dPr>
                                  <m:ctrlPr>
                                    <a:rPr lang="it-IT" sz="1700" i="1" noProof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m:rPr>
                                      <m:brk m:alnAt="7"/>
                                    </m:rPr>
                                    <a:rPr lang="it-IT" sz="1700" i="1" noProof="1">
                                      <a:latin typeface="Cambria Math" panose="02040503050406030204" pitchFamily="18" charset="0"/>
                                    </a:rPr>
                                    <m:t>𝑣</m:t>
                                  </m:r>
                                  <m:r>
                                    <a:rPr lang="it-IT" sz="1700" i="1" noProof="1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it-IT" sz="1700" i="1" noProof="1">
                                      <a:latin typeface="Cambria Math" panose="02040503050406030204" pitchFamily="18" charset="0"/>
                                    </a:rPr>
                                    <m:t>𝑧</m:t>
                                  </m:r>
                                </m:e>
                              </m:d>
                              <m:r>
                                <a:rPr lang="it-IT" sz="1700" i="1" noProof="1">
                                  <a:latin typeface="Cambria Math" panose="02040503050406030204" pitchFamily="18" charset="0"/>
                                </a:rPr>
                                <m:t>∈</m:t>
                              </m:r>
                              <m:r>
                                <a:rPr lang="it-IT" sz="1700" i="1" noProof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</m:sub>
                            <m:sup/>
                            <m:e>
                              <m:r>
                                <a:rPr lang="it-IT" sz="1700" i="1" noProof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  <m:r>
                                <a:rPr lang="it-IT" sz="1700" i="1" noProof="1">
                                  <a:latin typeface="Cambria Math" panose="02040503050406030204" pitchFamily="18" charset="0"/>
                                </a:rPr>
                                <m:t>(</m:t>
                              </m:r>
                              <m:r>
                                <a:rPr lang="it-IT" sz="1700" i="1" noProof="1">
                                  <a:latin typeface="Cambria Math" panose="02040503050406030204" pitchFamily="18" charset="0"/>
                                </a:rPr>
                                <m:t>𝑣</m:t>
                              </m:r>
                              <m:r>
                                <a:rPr lang="it-IT" sz="1700" i="1" noProof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it-IT" sz="1700" i="1" noProof="1">
                                  <a:latin typeface="Cambria Math" panose="02040503050406030204" pitchFamily="18" charset="0"/>
                                </a:rPr>
                                <m:t>𝑧</m:t>
                              </m:r>
                              <m:r>
                                <a:rPr lang="it-IT" sz="1700" i="1" noProof="1">
                                  <a:latin typeface="Cambria Math" panose="02040503050406030204" pitchFamily="18" charset="0"/>
                                </a:rPr>
                                <m:t>)</m:t>
                              </m:r>
                            </m:e>
                          </m:nary>
                        </m:den>
                      </m:f>
                      <m:r>
                        <a:rPr lang="it-IT" sz="1700" i="1" noProof="1" smtClean="0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it-IT" sz="1700" i="1" noProof="1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sz="1700" b="0" i="1" noProof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it-IT" sz="1700" i="1" noProof="1">
                          <a:latin typeface="Cambria Math" panose="02040503050406030204" pitchFamily="18" charset="0"/>
                        </a:rPr>
                        <m:t>∀</m:t>
                      </m:r>
                      <m:d>
                        <m:dPr>
                          <m:ctrlPr>
                            <a:rPr lang="it-IT" sz="1700" i="1" noProof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it-IT" sz="1700" i="1" noProof="1">
                              <a:latin typeface="Cambria Math" panose="02040503050406030204" pitchFamily="18" charset="0"/>
                            </a:rPr>
                            <m:t>𝑣</m:t>
                          </m:r>
                          <m:r>
                            <a:rPr lang="it-IT" sz="1700" i="1" noProof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it-IT" sz="1700" i="1" noProof="1">
                              <a:latin typeface="Cambria Math" panose="02040503050406030204" pitchFamily="18" charset="0"/>
                            </a:rPr>
                            <m:t>𝑢</m:t>
                          </m:r>
                        </m:e>
                      </m:d>
                      <m:r>
                        <a:rPr lang="it-IT" sz="1700" i="1" noProof="1">
                          <a:latin typeface="Cambria Math" panose="02040503050406030204" pitchFamily="18" charset="0"/>
                        </a:rPr>
                        <m:t>∈</m:t>
                      </m:r>
                      <m:r>
                        <a:rPr lang="it-IT" sz="1700" i="1" noProof="1">
                          <a:latin typeface="Cambria Math" panose="02040503050406030204" pitchFamily="18" charset="0"/>
                        </a:rPr>
                        <m:t>𝐴</m:t>
                      </m:r>
                    </m:oMath>
                  </m:oMathPara>
                </a14:m>
                <a:endParaRPr lang="en-US" sz="1700" noProof="1"/>
              </a:p>
              <a:p>
                <a:pPr>
                  <a:spcAft>
                    <a:spcPts val="300"/>
                  </a:spcAft>
                </a:pPr>
                <a:endParaRPr lang="en-US" sz="1700" noProof="1"/>
              </a:p>
              <a:p>
                <a:pPr>
                  <a:spcAft>
                    <a:spcPts val="300"/>
                  </a:spcAft>
                </a:pPr>
                <a:r>
                  <a:rPr lang="en-US" sz="1700" noProof="1"/>
                  <a:t>The correspondant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it-IT" sz="1700" i="1" noProof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it-IT" sz="1700" i="1" noProof="1">
                            <a:latin typeface="Cambria Math" panose="02040503050406030204" pitchFamily="18" charset="0"/>
                          </a:rPr>
                          <m:t>𝑃</m:t>
                        </m:r>
                        <m:r>
                          <a:rPr lang="it-IT" sz="1700" i="1" noProof="1">
                            <a:latin typeface="Cambria Math" panose="02040503050406030204" pitchFamily="18" charset="0"/>
                          </a:rPr>
                          <m:t>=[</m:t>
                        </m:r>
                        <m:r>
                          <a:rPr lang="it-IT" sz="1700" i="1" noProof="1">
                            <a:latin typeface="Cambria Math" panose="02040503050406030204" pitchFamily="18" charset="0"/>
                          </a:rPr>
                          <m:t>𝑃</m:t>
                        </m:r>
                      </m:e>
                      <m:sub>
                        <m:r>
                          <a:rPr lang="it-IT" sz="1700" i="1" noProof="1">
                            <a:latin typeface="Cambria Math" panose="02040503050406030204" pitchFamily="18" charset="0"/>
                          </a:rPr>
                          <m:t>𝑣𝑢</m:t>
                        </m:r>
                      </m:sub>
                    </m:sSub>
                    <m:r>
                      <a:rPr lang="it-IT" sz="1700" i="1" noProof="1">
                        <a:latin typeface="Cambria Math" panose="02040503050406030204" pitchFamily="18" charset="0"/>
                      </a:rPr>
                      <m:t>]</m:t>
                    </m:r>
                  </m:oMath>
                </a14:m>
                <a:r>
                  <a:rPr lang="en-US" sz="1700" noProof="1"/>
                  <a:t> forms a row-stocasthic transition probabilities matrix:</a:t>
                </a:r>
              </a:p>
              <a:p>
                <a:pPr>
                  <a:spcAft>
                    <a:spcPts val="3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nary>
                        <m:naryPr>
                          <m:chr m:val="∑"/>
                          <m:supHide m:val="on"/>
                          <m:ctrlPr>
                            <a:rPr lang="en-US" sz="1700" i="1" noProof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7"/>
                            </m:rPr>
                            <a:rPr lang="it-IT" sz="1700" i="1" noProof="1">
                              <a:latin typeface="Cambria Math" panose="02040503050406030204" pitchFamily="18" charset="0"/>
                            </a:rPr>
                            <m:t>𝑢</m:t>
                          </m:r>
                          <m:r>
                            <a:rPr lang="it-IT" sz="1700" i="1" noProof="1">
                              <a:latin typeface="Cambria Math" panose="02040503050406030204" pitchFamily="18" charset="0"/>
                            </a:rPr>
                            <m:t>∈</m:t>
                          </m:r>
                          <m:r>
                            <a:rPr lang="it-IT" sz="1700" i="1" noProof="1">
                              <a:latin typeface="Cambria Math" panose="02040503050406030204" pitchFamily="18" charset="0"/>
                            </a:rPr>
                            <m:t>𝑉</m:t>
                          </m:r>
                        </m:sub>
                        <m:sup/>
                        <m:e>
                          <m:sSub>
                            <m:sSubPr>
                              <m:ctrlPr>
                                <a:rPr lang="en-US" sz="1700" i="1" noProof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it-IT" sz="1700" i="1" noProof="1">
                                  <a:latin typeface="Cambria Math" panose="02040503050406030204" pitchFamily="18" charset="0"/>
                                </a:rPr>
                                <m:t>𝑃</m:t>
                              </m:r>
                            </m:e>
                            <m:sub>
                              <m:r>
                                <a:rPr lang="it-IT" sz="1700" i="1" noProof="1">
                                  <a:latin typeface="Cambria Math" panose="02040503050406030204" pitchFamily="18" charset="0"/>
                                </a:rPr>
                                <m:t>𝑣𝑢</m:t>
                              </m:r>
                            </m:sub>
                          </m:sSub>
                          <m:r>
                            <a:rPr lang="it-IT" sz="1700" i="1" noProof="1">
                              <a:latin typeface="Cambria Math" panose="02040503050406030204" pitchFamily="18" charset="0"/>
                            </a:rPr>
                            <m:t>=1</m:t>
                          </m:r>
                        </m:e>
                      </m:nary>
                      <m:r>
                        <a:rPr lang="it-IT" sz="1700" i="1" noProof="1">
                          <a:latin typeface="Cambria Math" panose="02040503050406030204" pitchFamily="18" charset="0"/>
                        </a:rPr>
                        <m:t>, </m:t>
                      </m:r>
                      <m:r>
                        <a:rPr lang="en-US" sz="1700" b="0" i="1" noProof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it-IT" sz="1700" i="1" noProof="1">
                          <a:latin typeface="Cambria Math" panose="02040503050406030204" pitchFamily="18" charset="0"/>
                        </a:rPr>
                        <m:t>∀</m:t>
                      </m:r>
                      <m:r>
                        <a:rPr lang="it-IT" sz="1700" i="1" noProof="1">
                          <a:latin typeface="Cambria Math" panose="02040503050406030204" pitchFamily="18" charset="0"/>
                        </a:rPr>
                        <m:t>𝑣</m:t>
                      </m:r>
                      <m:r>
                        <a:rPr lang="it-IT" sz="1700" i="1" noProof="1">
                          <a:latin typeface="Cambria Math" panose="02040503050406030204" pitchFamily="18" charset="0"/>
                        </a:rPr>
                        <m:t>∈</m:t>
                      </m:r>
                      <m:r>
                        <a:rPr lang="it-IT" sz="1700" i="1" noProof="1">
                          <a:latin typeface="Cambria Math" panose="02040503050406030204" pitchFamily="18" charset="0"/>
                        </a:rPr>
                        <m:t>𝑉</m:t>
                      </m:r>
                    </m:oMath>
                  </m:oMathPara>
                </a14:m>
                <a:endParaRPr lang="en-US" sz="1700" noProof="1"/>
              </a:p>
              <a:p>
                <a:pPr>
                  <a:spcAft>
                    <a:spcPts val="300"/>
                  </a:spcAft>
                </a:pPr>
                <a:endParaRPr lang="en-US" sz="1700" noProof="1"/>
              </a:p>
              <a:p>
                <a:pPr>
                  <a:spcAft>
                    <a:spcPts val="300"/>
                  </a:spcAft>
                </a:pPr>
                <a:r>
                  <a:rPr lang="en-US" sz="1700" noProof="1"/>
                  <a:t>The manufacturer is treated as an absorbing state:</a:t>
                </a:r>
              </a:p>
              <a:p>
                <a:pPr>
                  <a:spcAft>
                    <a:spcPts val="3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700" i="1" noProof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it-IT" sz="1700" i="1" noProof="1">
                              <a:latin typeface="Cambria Math" panose="02040503050406030204" pitchFamily="18" charset="0"/>
                            </a:rPr>
                            <m:t>𝑃</m:t>
                          </m:r>
                        </m:e>
                        <m:sub>
                          <m:r>
                            <a:rPr lang="it-IT" sz="1700" i="1" noProof="1">
                              <a:latin typeface="Cambria Math" panose="02040503050406030204" pitchFamily="18" charset="0"/>
                            </a:rPr>
                            <m:t>𝑚𝑚</m:t>
                          </m:r>
                        </m:sub>
                      </m:sSub>
                      <m:r>
                        <a:rPr lang="it-IT" sz="1700" i="1" noProof="1">
                          <a:latin typeface="Cambria Math" panose="02040503050406030204" pitchFamily="18" charset="0"/>
                        </a:rPr>
                        <m:t>=1</m:t>
                      </m:r>
                    </m:oMath>
                  </m:oMathPara>
                </a14:m>
                <a:endParaRPr lang="en-US" sz="1700" noProof="1"/>
              </a:p>
              <a:p>
                <a:pPr>
                  <a:spcAft>
                    <a:spcPts val="300"/>
                  </a:spcAft>
                </a:pPr>
                <a:endParaRPr lang="en-US" sz="1200" noProof="1"/>
              </a:p>
            </p:txBody>
          </p:sp>
        </mc:Choice>
        <mc:Fallback xmlns="">
          <p:sp>
            <p:nvSpPr>
              <p:cNvPr id="32" name="Google Shape;703;p114">
                <a:extLst>
                  <a:ext uri="{FF2B5EF4-FFF2-40B4-BE49-F238E27FC236}">
                    <a16:creationId xmlns:a16="http://schemas.microsoft.com/office/drawing/2014/main" id="{0CB8B2B5-4DD5-D52F-5C9D-E8DE884AA5E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>
                <p:custDataLst>
                  <p:tags r:id="rId13"/>
                </p:custDataLst>
              </p:nvPr>
            </p:nvSpPr>
            <p:spPr>
              <a:xfrm>
                <a:off x="1172228" y="1651000"/>
                <a:ext cx="6794499" cy="2254250"/>
              </a:xfrm>
              <a:prstGeom prst="rect">
                <a:avLst/>
              </a:prstGeom>
              <a:blipFill>
                <a:blip r:embed="rId14"/>
                <a:stretch>
                  <a:fillRect l="-359" t="-541" b="-8649"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C378F589-64E8-489E-9F5E-FD312AA79AEA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342900" y="255537"/>
            <a:ext cx="8455819" cy="155515"/>
          </a:xfrm>
          <a:prstGeom prst="rect">
            <a:avLst/>
          </a:prstGeom>
        </p:spPr>
        <p:txBody>
          <a:bodyPr vert="horz" lIns="0" tIns="0" rIns="68580" bIns="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cap="all" noProof="1">
                <a:solidFill>
                  <a:schemeClr val="accent1"/>
                </a:solidFill>
                <a:latin typeface="Aptos" panose="020B0004020202020204" pitchFamily="34" charset="0"/>
              </a:rPr>
              <a:t>Supply CHAIN Modeling</a:t>
            </a:r>
            <a:endParaRPr lang="en-US" sz="900" cap="all" noProof="1">
              <a:solidFill>
                <a:schemeClr val="accent1"/>
              </a:solidFill>
              <a:latin typeface="Aptos" panose="020B0004020202020204" pitchFamily="34" charset="0"/>
            </a:endParaRPr>
          </a:p>
        </p:txBody>
      </p:sp>
      <p:sp>
        <p:nvSpPr>
          <p:cNvPr id="10" name="Triangle 9">
            <a:extLst>
              <a:ext uri="{FF2B5EF4-FFF2-40B4-BE49-F238E27FC236}">
                <a16:creationId xmlns:a16="http://schemas.microsoft.com/office/drawing/2014/main" id="{02D786E8-4340-71AE-804E-B9794F6B5F25}"/>
              </a:ext>
            </a:extLst>
          </p:cNvPr>
          <p:cNvSpPr/>
          <p:nvPr/>
        </p:nvSpPr>
        <p:spPr>
          <a:xfrm rot="5400000">
            <a:off x="377391" y="4247374"/>
            <a:ext cx="137160" cy="82296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013" noProof="1"/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946639CE-2F27-F6FF-2A78-6ADB8D2785E6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342900" y="3946274"/>
            <a:ext cx="8509000" cy="821656"/>
          </a:xfrm>
          <a:prstGeom prst="rect">
            <a:avLst/>
          </a:prstGeom>
          <a:solidFill>
            <a:schemeClr val="bg2"/>
          </a:solidFill>
        </p:spPr>
        <p:txBody>
          <a:bodyPr vert="horz" lIns="68580" tIns="68580" rIns="68580" bIns="68580" rtlCol="0" anchor="ctr"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0000"/>
              </a:lnSpc>
            </a:pPr>
            <a:r>
              <a:rPr lang="en-US" sz="1400" b="1" noProof="1">
                <a:solidFill>
                  <a:srgbClr val="125E4B"/>
                </a:solidFill>
              </a:rPr>
              <a:t>Shipments</a:t>
            </a:r>
            <a:r>
              <a:rPr lang="en-US" sz="1400" noProof="1">
                <a:solidFill>
                  <a:srgbClr val="125E4B"/>
                </a:solidFill>
              </a:rPr>
              <a:t> are represented as </a:t>
            </a:r>
            <a:r>
              <a:rPr lang="en-US" sz="1400" b="1" noProof="1">
                <a:solidFill>
                  <a:srgbClr val="125E4B"/>
                </a:solidFill>
              </a:rPr>
              <a:t>maximal paths </a:t>
            </a:r>
            <a:r>
              <a:rPr lang="en-US" sz="1400" noProof="1">
                <a:solidFill>
                  <a:srgbClr val="125E4B"/>
                </a:solidFill>
              </a:rPr>
              <a:t>ending in the manufacturer. The </a:t>
            </a:r>
            <a:r>
              <a:rPr lang="en-US" sz="1400" b="1" noProof="1">
                <a:solidFill>
                  <a:srgbClr val="125E4B"/>
                </a:solidFill>
              </a:rPr>
              <a:t>routing process </a:t>
            </a:r>
            <a:r>
              <a:rPr lang="en-US" sz="1400" noProof="1">
                <a:solidFill>
                  <a:srgbClr val="125E4B"/>
                </a:solidFill>
              </a:rPr>
              <a:t>is modeled using </a:t>
            </a:r>
            <a:r>
              <a:rPr lang="en-US" sz="1400" b="1" noProof="1">
                <a:solidFill>
                  <a:srgbClr val="125E4B"/>
                </a:solidFill>
              </a:rPr>
              <a:t>discrete-time Markov chains</a:t>
            </a:r>
            <a:r>
              <a:rPr lang="en-US" sz="1400" noProof="1">
                <a:solidFill>
                  <a:srgbClr val="125E4B"/>
                </a:solidFill>
              </a:rPr>
              <a:t>, capturing shipment trajectories as </a:t>
            </a:r>
            <a:r>
              <a:rPr lang="en-US" sz="1400" b="1" noProof="1">
                <a:solidFill>
                  <a:srgbClr val="125E4B"/>
                </a:solidFill>
              </a:rPr>
              <a:t>stochastic processes </a:t>
            </a:r>
            <a:r>
              <a:rPr lang="en-US" sz="1400" noProof="1">
                <a:solidFill>
                  <a:srgbClr val="125E4B"/>
                </a:solidFill>
              </a:rPr>
              <a:t>based on </a:t>
            </a:r>
            <a:r>
              <a:rPr lang="en-US" sz="1400" b="1" noProof="1">
                <a:solidFill>
                  <a:srgbClr val="125E4B"/>
                </a:solidFill>
              </a:rPr>
              <a:t>empirical</a:t>
            </a:r>
            <a:r>
              <a:rPr lang="en-US" sz="1400" noProof="1">
                <a:solidFill>
                  <a:srgbClr val="125E4B"/>
                </a:solidFill>
              </a:rPr>
              <a:t> </a:t>
            </a:r>
            <a:r>
              <a:rPr lang="en-US" sz="1400" b="1" noProof="1">
                <a:solidFill>
                  <a:srgbClr val="125E4B"/>
                </a:solidFill>
              </a:rPr>
              <a:t>transition</a:t>
            </a:r>
            <a:r>
              <a:rPr lang="en-US" sz="1400" noProof="1">
                <a:solidFill>
                  <a:srgbClr val="125E4B"/>
                </a:solidFill>
              </a:rPr>
              <a:t> </a:t>
            </a:r>
            <a:r>
              <a:rPr lang="en-US" sz="1400" b="1" noProof="1">
                <a:solidFill>
                  <a:srgbClr val="125E4B"/>
                </a:solidFill>
              </a:rPr>
              <a:t>probabilities</a:t>
            </a:r>
            <a:r>
              <a:rPr lang="en-US" sz="1400" noProof="1">
                <a:solidFill>
                  <a:srgbClr val="125E4B"/>
                </a:solidFill>
              </a:rPr>
              <a:t> derived from </a:t>
            </a:r>
            <a:r>
              <a:rPr lang="en-US" sz="1400" b="1" noProof="1">
                <a:solidFill>
                  <a:srgbClr val="125E4B"/>
                </a:solidFill>
              </a:rPr>
              <a:t>historical</a:t>
            </a:r>
            <a:r>
              <a:rPr lang="en-US" sz="1400" noProof="1">
                <a:solidFill>
                  <a:srgbClr val="125E4B"/>
                </a:solidFill>
              </a:rPr>
              <a:t> </a:t>
            </a:r>
            <a:r>
              <a:rPr lang="en-US" sz="1400" b="1" noProof="1">
                <a:solidFill>
                  <a:srgbClr val="125E4B"/>
                </a:solidFill>
              </a:rPr>
              <a:t>shipment</a:t>
            </a:r>
            <a:r>
              <a:rPr lang="en-US" sz="1400" noProof="1">
                <a:solidFill>
                  <a:srgbClr val="125E4B"/>
                </a:solidFill>
              </a:rPr>
              <a:t> </a:t>
            </a:r>
            <a:r>
              <a:rPr lang="en-US" sz="1400" b="1" noProof="1">
                <a:solidFill>
                  <a:srgbClr val="125E4B"/>
                </a:solidFill>
              </a:rPr>
              <a:t>flows</a:t>
            </a:r>
            <a:r>
              <a:rPr lang="en-US" sz="1400" noProof="1">
                <a:solidFill>
                  <a:srgbClr val="125E4B"/>
                </a:solidFill>
              </a:rPr>
              <a:t>.</a:t>
            </a:r>
          </a:p>
        </p:txBody>
      </p:sp>
      <p:sp>
        <p:nvSpPr>
          <p:cNvPr id="13" name="Google Shape;10527;p9415">
            <a:extLst>
              <a:ext uri="{FF2B5EF4-FFF2-40B4-BE49-F238E27FC236}">
                <a16:creationId xmlns:a16="http://schemas.microsoft.com/office/drawing/2014/main" id="{77AD366E-28EF-5EC5-6E5B-17D292726980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227297" y="997834"/>
            <a:ext cx="7346949" cy="504061"/>
          </a:xfrm>
          <a:prstGeom prst="chevron">
            <a:avLst/>
          </a:prstGeom>
          <a:solidFill>
            <a:schemeClr val="bg2"/>
          </a:solidFill>
          <a:ln>
            <a:noFill/>
          </a:ln>
        </p:spPr>
        <p:txBody>
          <a:bodyPr spcFirstLastPara="1" wrap="square" lIns="68580" tIns="34290" rIns="34290" bIns="34290" anchor="ctr" anchorCtr="0"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ts val="1100"/>
            </a:pPr>
            <a:r>
              <a:rPr lang="en-US" sz="1400" noProof="1">
                <a:solidFill>
                  <a:srgbClr val="125E4B"/>
                </a:solidFill>
                <a:latin typeface="+mj-lt"/>
              </a:rPr>
              <a:t>Empirical Probabilities</a:t>
            </a:r>
          </a:p>
        </p:txBody>
      </p:sp>
      <p:sp>
        <p:nvSpPr>
          <p:cNvPr id="15" name="Google Shape;10527;p9415">
            <a:extLst>
              <a:ext uri="{FF2B5EF4-FFF2-40B4-BE49-F238E27FC236}">
                <a16:creationId xmlns:a16="http://schemas.microsoft.com/office/drawing/2014/main" id="{173534A3-76B0-78CB-62BB-B76695276E57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7574246" y="997834"/>
            <a:ext cx="649004" cy="504061"/>
          </a:xfrm>
          <a:prstGeom prst="chevron">
            <a:avLst/>
          </a:prstGeom>
          <a:solidFill>
            <a:schemeClr val="bg2"/>
          </a:solidFill>
          <a:ln>
            <a:noFill/>
          </a:ln>
        </p:spPr>
        <p:txBody>
          <a:bodyPr spcFirstLastPara="1" wrap="square" lIns="68580" tIns="34290" rIns="34290" bIns="34290" anchor="ctr" anchorCtr="0"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ts val="1100"/>
            </a:pPr>
            <a:endParaRPr lang="en-US" sz="1400" noProof="1">
              <a:solidFill>
                <a:srgbClr val="4F8161"/>
              </a:solidFill>
              <a:latin typeface="+mj-lt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4006915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5271D40-40D5-47A0-D74F-45A4F7E8BC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4E46973B-DB11-983B-9415-43D05823942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1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7772400" imgH="10058400" progId="TCLayout.ActiveDocument.1">
                  <p:embed/>
                </p:oleObj>
              </mc:Choice>
              <mc:Fallback>
                <p:oleObj name="think-cell Slide" r:id="rId11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E46973B-DB11-983B-9415-43D0582394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2" y="1191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BCFD3DC0-3A1D-3DC9-BA2A-991BCAD0439D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342900" y="411480"/>
            <a:ext cx="8455914" cy="370332"/>
          </a:xfrm>
        </p:spPr>
        <p:txBody>
          <a:bodyPr vert="horz" lIns="0" tIns="34290" rIns="0" bIns="3429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noProof="1"/>
              <a:t>Markov Chain Routing Model (2)</a:t>
            </a:r>
          </a:p>
        </p:txBody>
      </p:sp>
      <p:sp>
        <p:nvSpPr>
          <p:cNvPr id="34" name="Google Shape;10527;p9415">
            <a:extLst>
              <a:ext uri="{FF2B5EF4-FFF2-40B4-BE49-F238E27FC236}">
                <a16:creationId xmlns:a16="http://schemas.microsoft.com/office/drawing/2014/main" id="{3A5DAC6B-5182-626E-2A7B-87A8A0A529BF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81348" y="997833"/>
            <a:ext cx="7341902" cy="504062"/>
          </a:xfrm>
          <a:prstGeom prst="chevron">
            <a:avLst/>
          </a:prstGeom>
          <a:solidFill>
            <a:schemeClr val="bg2"/>
          </a:solidFill>
          <a:ln>
            <a:noFill/>
          </a:ln>
        </p:spPr>
        <p:txBody>
          <a:bodyPr spcFirstLastPara="1" wrap="square" lIns="68580" tIns="34290" rIns="34290" bIns="34290" anchor="ctr" anchorCtr="0"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ts val="1100"/>
            </a:pPr>
            <a:r>
              <a:rPr lang="en-US" sz="1400" noProof="1">
                <a:solidFill>
                  <a:srgbClr val="125E4B"/>
                </a:solidFill>
                <a:latin typeface="+mj-lt"/>
              </a:rPr>
              <a:t>Probabilistic Routing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2" name="Google Shape;703;p114">
                <a:extLst>
                  <a:ext uri="{FF2B5EF4-FFF2-40B4-BE49-F238E27FC236}">
                    <a16:creationId xmlns:a16="http://schemas.microsoft.com/office/drawing/2014/main" id="{A075AB46-77D1-3BB0-D553-16FFA2DCD79C}"/>
                  </a:ext>
                </a:extLst>
              </p:cNvPr>
              <p:cNvSpPr txBox="1"/>
              <p:nvPr>
                <p:custDataLst>
                  <p:tags r:id="rId5"/>
                </p:custDataLst>
              </p:nvPr>
            </p:nvSpPr>
            <p:spPr>
              <a:xfrm>
                <a:off x="1172228" y="1651000"/>
                <a:ext cx="6794499" cy="225425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68580" tIns="68580" rIns="68580" bIns="34290" anchor="t" anchorCtr="0">
                <a:normAutofit/>
              </a:bodyPr>
              <a:lstStyle>
                <a:defPPr>
                  <a:defRPr lang="en-US"/>
                </a:defPPr>
                <a:lvl1pPr marL="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9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8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7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6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5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4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3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2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spcAft>
                    <a:spcPts val="300"/>
                  </a:spcAft>
                </a:pPr>
                <a:r>
                  <a:rPr lang="en-US" sz="1200" noProof="1"/>
                  <a:t>Given a maximal path:  </a:t>
                </a:r>
              </a:p>
              <a:p>
                <a:pPr>
                  <a:spcAft>
                    <a:spcPts val="3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it-IT" sz="1200" i="1" noProof="1">
                          <a:latin typeface="Cambria Math" panose="02040503050406030204" pitchFamily="18" charset="0"/>
                        </a:rPr>
                        <m:t>π</m:t>
                      </m:r>
                      <m:r>
                        <a:rPr lang="it-IT" sz="1200" i="1" noProof="1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it-IT" sz="1200" i="1" noProof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it-IT" sz="1200" i="1" noProof="1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m:rPr>
                              <m:sty m:val="p"/>
                            </m:rPr>
                            <a:rPr lang="it-IT" sz="1200" i="1" noProof="1">
                              <a:latin typeface="Cambria Math" panose="02040503050406030204" pitchFamily="18" charset="0"/>
                            </a:rPr>
                            <m:t>v</m:t>
                          </m:r>
                        </m:e>
                        <m:sub>
                          <m:r>
                            <a:rPr lang="it-IT" sz="1200" i="1" noProof="1">
                              <a:latin typeface="Cambria Math" panose="02040503050406030204" pitchFamily="18" charset="0"/>
                            </a:rPr>
                            <m:t>0</m:t>
                          </m:r>
                        </m:sub>
                      </m:sSub>
                      <m:r>
                        <a:rPr lang="it-IT" sz="1200" i="1" noProof="1">
                          <a:latin typeface="Cambria Math" panose="02040503050406030204" pitchFamily="18" charset="0"/>
                        </a:rPr>
                        <m:t>,</m:t>
                      </m:r>
                      <m:sSub>
                        <m:sSubPr>
                          <m:ctrlPr>
                            <a:rPr lang="it-IT" sz="1200" i="1" noProof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it-IT" sz="1200" i="1" noProof="1">
                              <a:latin typeface="Cambria Math" panose="02040503050406030204" pitchFamily="18" charset="0"/>
                            </a:rPr>
                            <m:t>v</m:t>
                          </m:r>
                        </m:e>
                        <m:sub>
                          <m:r>
                            <a:rPr lang="it-IT" sz="1200" i="1" noProof="1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it-IT" sz="1200" i="1" noProof="1">
                          <a:latin typeface="Cambria Math" panose="02040503050406030204" pitchFamily="18" charset="0"/>
                        </a:rPr>
                        <m:t>, …,</m:t>
                      </m:r>
                      <m:sSub>
                        <m:sSubPr>
                          <m:ctrlPr>
                            <a:rPr lang="it-IT" sz="1200" i="1" noProof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it-IT" sz="1200" i="1" noProof="1">
                              <a:latin typeface="Cambria Math" panose="02040503050406030204" pitchFamily="18" charset="0"/>
                            </a:rPr>
                            <m:t>v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it-IT" sz="1200" i="1" noProof="1">
                              <a:latin typeface="Cambria Math" panose="02040503050406030204" pitchFamily="18" charset="0"/>
                            </a:rPr>
                            <m:t>k</m:t>
                          </m:r>
                        </m:sub>
                      </m:sSub>
                      <m:r>
                        <a:rPr lang="it-IT" sz="1200" i="1" noProof="1">
                          <a:latin typeface="Cambria Math" panose="02040503050406030204" pitchFamily="18" charset="0"/>
                        </a:rPr>
                        <m:t>=</m:t>
                      </m:r>
                      <m:r>
                        <m:rPr>
                          <m:sty m:val="p"/>
                        </m:rPr>
                        <a:rPr lang="it-IT" sz="1200" i="1" noProof="1">
                          <a:latin typeface="Cambria Math" panose="02040503050406030204" pitchFamily="18" charset="0"/>
                        </a:rPr>
                        <m:t>m</m:t>
                      </m:r>
                      <m:r>
                        <a:rPr lang="it-IT" sz="1200" i="1" noProof="1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en-US" sz="1200" noProof="1"/>
              </a:p>
              <a:p>
                <a:pPr>
                  <a:spcAft>
                    <a:spcPts val="300"/>
                  </a:spcAft>
                </a:pPr>
                <a:endParaRPr lang="en-US" sz="1200" noProof="1"/>
              </a:p>
              <a:p>
                <a:pPr>
                  <a:spcAft>
                    <a:spcPts val="300"/>
                  </a:spcAft>
                </a:pPr>
                <a:r>
                  <a:rPr lang="en-US" sz="1200" noProof="1"/>
                  <a:t>The </a:t>
                </a:r>
                <a:r>
                  <a:rPr lang="en-US" sz="1200" b="1" noProof="1"/>
                  <a:t>Markov Property </a:t>
                </a:r>
                <a:r>
                  <a:rPr lang="en-US" sz="1200" noProof="1"/>
                  <a:t>is used to compute the path probability:</a:t>
                </a:r>
              </a:p>
              <a:p>
                <a:pPr>
                  <a:spcAft>
                    <a:spcPts val="3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it-IT" sz="1200" i="1" noProof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ℙ</m:t>
                      </m:r>
                      <m:d>
                        <m:dPr>
                          <m:ctrlPr>
                            <a:rPr lang="it-IT" sz="1200" i="1" noProof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it-IT" sz="1200" i="1" noProof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𝜋</m:t>
                          </m:r>
                        </m:e>
                      </m:d>
                      <m:r>
                        <a:rPr lang="it-IT" sz="1200" i="1" noProof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  <m:r>
                        <a:rPr lang="it-IT" sz="1200" i="1" noProof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ℙ</m:t>
                      </m:r>
                      <m:d>
                        <m:dPr>
                          <m:ctrlPr>
                            <a:rPr lang="it-IT" sz="1200" i="1" noProof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it-IT" sz="1200" i="1" noProof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m:rPr>
                                  <m:sty m:val="p"/>
                                </m:rPr>
                                <a:rPr lang="it-IT" sz="1200" i="1" noProof="1">
                                  <a:latin typeface="Cambria Math" panose="02040503050406030204" pitchFamily="18" charset="0"/>
                                </a:rPr>
                                <m:t>X</m:t>
                              </m:r>
                            </m:e>
                            <m:sub>
                              <m:r>
                                <a:rPr lang="it-IT" sz="1200" i="1" noProof="1">
                                  <a:latin typeface="Cambria Math" panose="02040503050406030204" pitchFamily="18" charset="0"/>
                                </a:rPr>
                                <m:t>0</m:t>
                              </m:r>
                            </m:sub>
                          </m:sSub>
                          <m:r>
                            <a:rPr lang="it-IT" sz="1200" i="1" noProof="1">
                              <a:latin typeface="Cambria Math" panose="02040503050406030204" pitchFamily="18" charset="0"/>
                            </a:rPr>
                            <m:t>=</m:t>
                          </m:r>
                          <m:sSub>
                            <m:sSubPr>
                              <m:ctrlPr>
                                <a:rPr lang="it-IT" sz="1200" i="1" noProof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m:rPr>
                                  <m:sty m:val="p"/>
                                </m:rPr>
                                <a:rPr lang="it-IT" sz="1200" i="1" noProof="1">
                                  <a:latin typeface="Cambria Math" panose="02040503050406030204" pitchFamily="18" charset="0"/>
                                </a:rPr>
                                <m:t>v</m:t>
                              </m:r>
                            </m:e>
                            <m:sub>
                              <m:r>
                                <a:rPr lang="it-IT" sz="1200" i="1" noProof="1">
                                  <a:latin typeface="Cambria Math" panose="02040503050406030204" pitchFamily="18" charset="0"/>
                                </a:rPr>
                                <m:t>0</m:t>
                              </m:r>
                            </m:sub>
                          </m:sSub>
                          <m:r>
                            <a:rPr lang="it-IT" sz="1200" i="1" noProof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sSub>
                            <m:sSubPr>
                              <m:ctrlPr>
                                <a:rPr lang="it-IT" sz="1200" i="1" noProof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m:rPr>
                                  <m:sty m:val="p"/>
                                </m:rPr>
                                <a:rPr lang="it-IT" sz="1200" i="1" noProof="1">
                                  <a:latin typeface="Cambria Math" panose="02040503050406030204" pitchFamily="18" charset="0"/>
                                </a:rPr>
                                <m:t>X</m:t>
                              </m:r>
                            </m:e>
                            <m:sub>
                              <m:r>
                                <a:rPr lang="it-IT" sz="1200" i="1" noProof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  <m:r>
                            <a:rPr lang="it-IT" sz="1200" i="1" noProof="1">
                              <a:latin typeface="Cambria Math" panose="02040503050406030204" pitchFamily="18" charset="0"/>
                            </a:rPr>
                            <m:t>=</m:t>
                          </m:r>
                          <m:sSub>
                            <m:sSubPr>
                              <m:ctrlPr>
                                <a:rPr lang="it-IT" sz="1200" i="1" noProof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m:rPr>
                                  <m:sty m:val="p"/>
                                </m:rPr>
                                <a:rPr lang="it-IT" sz="1200" i="1" noProof="1">
                                  <a:latin typeface="Cambria Math" panose="02040503050406030204" pitchFamily="18" charset="0"/>
                                </a:rPr>
                                <m:t>v</m:t>
                              </m:r>
                            </m:e>
                            <m:sub>
                              <m:r>
                                <a:rPr lang="it-IT" sz="1200" i="1" noProof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  <m:r>
                            <a:rPr lang="it-IT" sz="1200" i="1" noProof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 …,</m:t>
                          </m:r>
                          <m:sSub>
                            <m:sSubPr>
                              <m:ctrlPr>
                                <a:rPr lang="it-IT" sz="1200" i="1" noProof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m:rPr>
                                  <m:sty m:val="p"/>
                                </m:rPr>
                                <a:rPr lang="it-IT" sz="1200" i="1" noProof="1">
                                  <a:latin typeface="Cambria Math" panose="02040503050406030204" pitchFamily="18" charset="0"/>
                                </a:rPr>
                                <m:t>X</m:t>
                              </m:r>
                            </m:e>
                            <m:sub>
                              <m:r>
                                <m:rPr>
                                  <m:sty m:val="p"/>
                                </m:rPr>
                                <a:rPr lang="it-IT" sz="1200" i="1" noProof="1">
                                  <a:latin typeface="Cambria Math" panose="02040503050406030204" pitchFamily="18" charset="0"/>
                                </a:rPr>
                                <m:t>k</m:t>
                              </m:r>
                            </m:sub>
                          </m:sSub>
                          <m:r>
                            <a:rPr lang="it-IT" sz="1200" i="1" noProof="1">
                              <a:latin typeface="Cambria Math" panose="02040503050406030204" pitchFamily="18" charset="0"/>
                            </a:rPr>
                            <m:t>=</m:t>
                          </m:r>
                          <m:r>
                            <m:rPr>
                              <m:sty m:val="p"/>
                            </m:rPr>
                            <a:rPr lang="it-IT" sz="1200" i="1" noProof="1">
                              <a:latin typeface="Cambria Math" panose="02040503050406030204" pitchFamily="18" charset="0"/>
                            </a:rPr>
                            <m:t>m</m:t>
                          </m:r>
                        </m:e>
                      </m:d>
                      <m:r>
                        <a:rPr lang="it-IT" sz="1200" i="1" noProof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  <m:r>
                        <a:rPr lang="it-IT" sz="1200" i="1" noProof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ℙ</m:t>
                      </m:r>
                      <m:r>
                        <a:rPr lang="it-IT" sz="1200" i="1" noProof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(</m:t>
                      </m:r>
                      <m:sSub>
                        <m:sSubPr>
                          <m:ctrlPr>
                            <a:rPr lang="it-IT" sz="1200" i="1" noProof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it-IT" sz="1200" i="1" noProof="1">
                              <a:latin typeface="Cambria Math" panose="02040503050406030204" pitchFamily="18" charset="0"/>
                            </a:rPr>
                            <m:t>X</m:t>
                          </m:r>
                        </m:e>
                        <m:sub>
                          <m:r>
                            <a:rPr lang="it-IT" sz="1200" i="1" noProof="1">
                              <a:latin typeface="Cambria Math" panose="02040503050406030204" pitchFamily="18" charset="0"/>
                            </a:rPr>
                            <m:t>0</m:t>
                          </m:r>
                        </m:sub>
                      </m:sSub>
                      <m:r>
                        <a:rPr lang="it-IT" sz="1200" i="1" noProof="1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it-IT" sz="1200" i="1" noProof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it-IT" sz="1200" i="1" noProof="1">
                              <a:latin typeface="Cambria Math" panose="02040503050406030204" pitchFamily="18" charset="0"/>
                            </a:rPr>
                            <m:t>v</m:t>
                          </m:r>
                        </m:e>
                        <m:sub>
                          <m:r>
                            <a:rPr lang="it-IT" sz="1200" i="1" noProof="1">
                              <a:latin typeface="Cambria Math" panose="02040503050406030204" pitchFamily="18" charset="0"/>
                            </a:rPr>
                            <m:t>0</m:t>
                          </m:r>
                        </m:sub>
                      </m:sSub>
                      <m:r>
                        <a:rPr lang="it-IT" sz="1200" i="1" noProof="1">
                          <a:latin typeface="Cambria Math" panose="02040503050406030204" pitchFamily="18" charset="0"/>
                        </a:rPr>
                        <m:t>) ⋅</m:t>
                      </m:r>
                      <m:nary>
                        <m:naryPr>
                          <m:chr m:val="∏"/>
                          <m:ctrlPr>
                            <a:rPr lang="it-IT" sz="1200" i="1" noProof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it-IT" sz="1200" i="1" noProof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it-IT" sz="1200" i="1" noProof="1">
                              <a:latin typeface="Cambria Math" panose="02040503050406030204" pitchFamily="18" charset="0"/>
                            </a:rPr>
                            <m:t>=0</m:t>
                          </m:r>
                        </m:sub>
                        <m:sup>
                          <m:r>
                            <a:rPr lang="it-IT" sz="1200" i="1" noProof="1">
                              <a:latin typeface="Cambria Math" panose="02040503050406030204" pitchFamily="18" charset="0"/>
                            </a:rPr>
                            <m:t>𝑘</m:t>
                          </m:r>
                          <m:r>
                            <a:rPr lang="it-IT" sz="1200" i="1" noProof="1">
                              <a:latin typeface="Cambria Math" panose="02040503050406030204" pitchFamily="18" charset="0"/>
                            </a:rPr>
                            <m:t>−1</m:t>
                          </m:r>
                        </m:sup>
                        <m:e>
                          <m:sSub>
                            <m:sSubPr>
                              <m:ctrlPr>
                                <a:rPr lang="it-IT" sz="1200" i="1" noProof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it-IT" sz="1200" i="1" noProof="1">
                                  <a:latin typeface="Cambria Math" panose="02040503050406030204" pitchFamily="18" charset="0"/>
                                </a:rPr>
                                <m:t>𝑃</m:t>
                              </m:r>
                            </m:e>
                            <m:sub>
                              <m:sSub>
                                <m:sSubPr>
                                  <m:ctrlPr>
                                    <a:rPr lang="it-IT" sz="1200" i="1" noProof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it-IT" sz="1200" i="1" noProof="1">
                                      <a:latin typeface="Cambria Math" panose="02040503050406030204" pitchFamily="18" charset="0"/>
                                    </a:rPr>
                                    <m:t>𝑣</m:t>
                                  </m:r>
                                </m:e>
                                <m:sub>
                                  <m:r>
                                    <a:rPr lang="it-IT" sz="1200" i="1" noProof="1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sub>
                              </m:sSub>
                              <m:sSub>
                                <m:sSubPr>
                                  <m:ctrlPr>
                                    <a:rPr lang="it-IT" sz="1200" i="1" noProof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it-IT" sz="1200" i="1" noProof="1">
                                      <a:latin typeface="Cambria Math" panose="02040503050406030204" pitchFamily="18" charset="0"/>
                                    </a:rPr>
                                    <m:t>𝑣</m:t>
                                  </m:r>
                                </m:e>
                                <m:sub>
                                  <m:r>
                                    <a:rPr lang="it-IT" sz="1200" i="1" noProof="1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it-IT" sz="1200" i="1" noProof="1">
                                      <a:latin typeface="Cambria Math" panose="02040503050406030204" pitchFamily="18" charset="0"/>
                                    </a:rPr>
                                    <m:t>+1</m:t>
                                  </m:r>
                                </m:sub>
                              </m:sSub>
                            </m:sub>
                          </m:sSub>
                        </m:e>
                      </m:nary>
                    </m:oMath>
                  </m:oMathPara>
                </a14:m>
                <a:endParaRPr lang="en-US" sz="1200" noProof="1"/>
              </a:p>
            </p:txBody>
          </p:sp>
        </mc:Choice>
        <mc:Fallback xmlns="">
          <p:sp>
            <p:nvSpPr>
              <p:cNvPr id="32" name="Google Shape;703;p114">
                <a:extLst>
                  <a:ext uri="{FF2B5EF4-FFF2-40B4-BE49-F238E27FC236}">
                    <a16:creationId xmlns:a16="http://schemas.microsoft.com/office/drawing/2014/main" id="{A075AB46-77D1-3BB0-D553-16FFA2DCD79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>
                <p:custDataLst>
                  <p:tags r:id="rId13"/>
                </p:custDataLst>
              </p:nvPr>
            </p:nvSpPr>
            <p:spPr>
              <a:xfrm>
                <a:off x="1172228" y="1651000"/>
                <a:ext cx="6794499" cy="2254250"/>
              </a:xfrm>
              <a:prstGeom prst="rect">
                <a:avLst/>
              </a:prstGeom>
              <a:blipFill>
                <a:blip r:embed="rId14"/>
                <a:stretch>
                  <a:fillRect l="-359"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8578573A-347C-D0F6-CE30-3638B000367E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342900" y="255537"/>
            <a:ext cx="8455819" cy="155515"/>
          </a:xfrm>
          <a:prstGeom prst="rect">
            <a:avLst/>
          </a:prstGeom>
        </p:spPr>
        <p:txBody>
          <a:bodyPr vert="horz" lIns="0" tIns="0" rIns="68580" bIns="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cap="all" noProof="1">
                <a:solidFill>
                  <a:schemeClr val="accent1"/>
                </a:solidFill>
                <a:latin typeface="Aptos" panose="020B0004020202020204" pitchFamily="34" charset="0"/>
              </a:rPr>
              <a:t>Supply CHAIN Modeling</a:t>
            </a:r>
            <a:endParaRPr lang="en-US" sz="900" cap="all" noProof="1">
              <a:solidFill>
                <a:schemeClr val="accent1"/>
              </a:solidFill>
              <a:latin typeface="Aptos" panose="020B0004020202020204" pitchFamily="34" charset="0"/>
            </a:endParaRPr>
          </a:p>
        </p:txBody>
      </p:sp>
      <p:sp>
        <p:nvSpPr>
          <p:cNvPr id="10" name="Triangle 9">
            <a:extLst>
              <a:ext uri="{FF2B5EF4-FFF2-40B4-BE49-F238E27FC236}">
                <a16:creationId xmlns:a16="http://schemas.microsoft.com/office/drawing/2014/main" id="{93CC9BAF-A9D4-F2D9-EF8D-C722579AD227}"/>
              </a:ext>
            </a:extLst>
          </p:cNvPr>
          <p:cNvSpPr/>
          <p:nvPr/>
        </p:nvSpPr>
        <p:spPr>
          <a:xfrm rot="5400000">
            <a:off x="377391" y="4247374"/>
            <a:ext cx="137160" cy="82296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013" noProof="1"/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FF755D45-087A-58D1-FC13-DF15365FA88D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342900" y="3946274"/>
            <a:ext cx="8509000" cy="821656"/>
          </a:xfrm>
          <a:prstGeom prst="rect">
            <a:avLst/>
          </a:prstGeom>
          <a:solidFill>
            <a:schemeClr val="bg2"/>
          </a:solidFill>
        </p:spPr>
        <p:txBody>
          <a:bodyPr vert="horz" lIns="68580" tIns="68580" rIns="68580" bIns="68580" rtlCol="0" anchor="ctr"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0000"/>
              </a:lnSpc>
            </a:pPr>
            <a:r>
              <a:rPr lang="en-US" sz="1400" b="1" noProof="1">
                <a:solidFill>
                  <a:srgbClr val="125E4B"/>
                </a:solidFill>
              </a:rPr>
              <a:t>Shipments</a:t>
            </a:r>
            <a:r>
              <a:rPr lang="en-US" sz="1400" noProof="1">
                <a:solidFill>
                  <a:srgbClr val="125E4B"/>
                </a:solidFill>
              </a:rPr>
              <a:t> are represented as </a:t>
            </a:r>
            <a:r>
              <a:rPr lang="en-US" sz="1400" b="1" noProof="1">
                <a:solidFill>
                  <a:srgbClr val="125E4B"/>
                </a:solidFill>
              </a:rPr>
              <a:t>maximal paths </a:t>
            </a:r>
            <a:r>
              <a:rPr lang="en-US" sz="1400" noProof="1">
                <a:solidFill>
                  <a:srgbClr val="125E4B"/>
                </a:solidFill>
              </a:rPr>
              <a:t>ending in the manufacturer. The </a:t>
            </a:r>
            <a:r>
              <a:rPr lang="en-US" sz="1400" b="1" noProof="1">
                <a:solidFill>
                  <a:srgbClr val="125E4B"/>
                </a:solidFill>
              </a:rPr>
              <a:t>routing process </a:t>
            </a:r>
            <a:r>
              <a:rPr lang="en-US" sz="1400" noProof="1">
                <a:solidFill>
                  <a:srgbClr val="125E4B"/>
                </a:solidFill>
              </a:rPr>
              <a:t>is modeled using </a:t>
            </a:r>
            <a:r>
              <a:rPr lang="en-US" sz="1400" b="1" noProof="1">
                <a:solidFill>
                  <a:srgbClr val="125E4B"/>
                </a:solidFill>
              </a:rPr>
              <a:t>discrete-time Markov chains</a:t>
            </a:r>
            <a:r>
              <a:rPr lang="en-US" sz="1400" noProof="1">
                <a:solidFill>
                  <a:srgbClr val="125E4B"/>
                </a:solidFill>
              </a:rPr>
              <a:t>, capturing shipment trajectories as </a:t>
            </a:r>
            <a:r>
              <a:rPr lang="en-US" sz="1400" b="1" noProof="1">
                <a:solidFill>
                  <a:srgbClr val="125E4B"/>
                </a:solidFill>
              </a:rPr>
              <a:t>stochastic processes </a:t>
            </a:r>
            <a:r>
              <a:rPr lang="en-US" sz="1400" noProof="1">
                <a:solidFill>
                  <a:srgbClr val="125E4B"/>
                </a:solidFill>
              </a:rPr>
              <a:t>based on </a:t>
            </a:r>
            <a:r>
              <a:rPr lang="en-US" sz="1400" b="1" noProof="1">
                <a:solidFill>
                  <a:srgbClr val="125E4B"/>
                </a:solidFill>
              </a:rPr>
              <a:t>empirical</a:t>
            </a:r>
            <a:r>
              <a:rPr lang="en-US" sz="1400" noProof="1">
                <a:solidFill>
                  <a:srgbClr val="125E4B"/>
                </a:solidFill>
              </a:rPr>
              <a:t> </a:t>
            </a:r>
            <a:r>
              <a:rPr lang="en-US" sz="1400" b="1" noProof="1">
                <a:solidFill>
                  <a:srgbClr val="125E4B"/>
                </a:solidFill>
              </a:rPr>
              <a:t>transition</a:t>
            </a:r>
            <a:r>
              <a:rPr lang="en-US" sz="1400" noProof="1">
                <a:solidFill>
                  <a:srgbClr val="125E4B"/>
                </a:solidFill>
              </a:rPr>
              <a:t> </a:t>
            </a:r>
            <a:r>
              <a:rPr lang="en-US" sz="1400" b="1" noProof="1">
                <a:solidFill>
                  <a:srgbClr val="125E4B"/>
                </a:solidFill>
              </a:rPr>
              <a:t>probabilities</a:t>
            </a:r>
            <a:r>
              <a:rPr lang="en-US" sz="1400" noProof="1">
                <a:solidFill>
                  <a:srgbClr val="125E4B"/>
                </a:solidFill>
              </a:rPr>
              <a:t> derived from </a:t>
            </a:r>
            <a:r>
              <a:rPr lang="en-US" sz="1400" b="1" noProof="1">
                <a:solidFill>
                  <a:srgbClr val="125E4B"/>
                </a:solidFill>
              </a:rPr>
              <a:t>historical</a:t>
            </a:r>
            <a:r>
              <a:rPr lang="en-US" sz="1400" noProof="1">
                <a:solidFill>
                  <a:srgbClr val="125E4B"/>
                </a:solidFill>
              </a:rPr>
              <a:t> </a:t>
            </a:r>
            <a:r>
              <a:rPr lang="en-US" sz="1400" b="1" noProof="1">
                <a:solidFill>
                  <a:srgbClr val="125E4B"/>
                </a:solidFill>
              </a:rPr>
              <a:t>shipment</a:t>
            </a:r>
            <a:r>
              <a:rPr lang="en-US" sz="1400" noProof="1">
                <a:solidFill>
                  <a:srgbClr val="125E4B"/>
                </a:solidFill>
              </a:rPr>
              <a:t> </a:t>
            </a:r>
            <a:r>
              <a:rPr lang="en-US" sz="1400" b="1" noProof="1">
                <a:solidFill>
                  <a:srgbClr val="125E4B"/>
                </a:solidFill>
              </a:rPr>
              <a:t>flows</a:t>
            </a:r>
            <a:r>
              <a:rPr lang="en-US" sz="1400" noProof="1">
                <a:solidFill>
                  <a:srgbClr val="125E4B"/>
                </a:solidFill>
              </a:rPr>
              <a:t>.</a:t>
            </a:r>
          </a:p>
        </p:txBody>
      </p:sp>
      <p:sp>
        <p:nvSpPr>
          <p:cNvPr id="6" name="Google Shape;10527;p9415">
            <a:extLst>
              <a:ext uri="{FF2B5EF4-FFF2-40B4-BE49-F238E27FC236}">
                <a16:creationId xmlns:a16="http://schemas.microsoft.com/office/drawing/2014/main" id="{CCE43987-21DA-7BDD-0F69-2E5B0E7BD174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232344" y="997834"/>
            <a:ext cx="649004" cy="504061"/>
          </a:xfrm>
          <a:prstGeom prst="chevron">
            <a:avLst/>
          </a:prstGeom>
          <a:solidFill>
            <a:schemeClr val="bg2"/>
          </a:solidFill>
          <a:ln>
            <a:noFill/>
          </a:ln>
        </p:spPr>
        <p:txBody>
          <a:bodyPr spcFirstLastPara="1" wrap="square" lIns="68580" tIns="34290" rIns="34290" bIns="34290" anchor="ctr" anchorCtr="0"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ts val="1100"/>
            </a:pPr>
            <a:endParaRPr lang="en-US" sz="1400" noProof="1">
              <a:solidFill>
                <a:srgbClr val="4F8161"/>
              </a:solidFill>
              <a:latin typeface="+mj-lt"/>
            </a:endParaRPr>
          </a:p>
        </p:txBody>
      </p:sp>
      <p:sp>
        <p:nvSpPr>
          <p:cNvPr id="8" name="Google Shape;10527;p9415">
            <a:extLst>
              <a:ext uri="{FF2B5EF4-FFF2-40B4-BE49-F238E27FC236}">
                <a16:creationId xmlns:a16="http://schemas.microsoft.com/office/drawing/2014/main" id="{A4C9F790-7C0B-A863-5CA8-5FDA683C5078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8223250" y="997837"/>
            <a:ext cx="649004" cy="504061"/>
          </a:xfrm>
          <a:prstGeom prst="chevron">
            <a:avLst/>
          </a:prstGeom>
          <a:solidFill>
            <a:schemeClr val="bg2"/>
          </a:solidFill>
          <a:ln>
            <a:noFill/>
          </a:ln>
        </p:spPr>
        <p:txBody>
          <a:bodyPr spcFirstLastPara="1" wrap="square" lIns="68580" tIns="34290" rIns="34290" bIns="34290" anchor="ctr" anchorCtr="0"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ts val="1100"/>
            </a:pPr>
            <a:endParaRPr lang="en-US" sz="1400" noProof="1">
              <a:solidFill>
                <a:srgbClr val="4F8161"/>
              </a:solidFill>
              <a:latin typeface="+mj-lt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1311076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9B3723E-726C-C09B-17B1-671AF16429C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408267F5-253D-13A5-D3AC-7E8998EB41B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1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7772400" imgH="10058400" progId="TCLayout.ActiveDocument.1">
                  <p:embed/>
                </p:oleObj>
              </mc:Choice>
              <mc:Fallback>
                <p:oleObj name="think-cell Slide" r:id="rId11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08267F5-253D-13A5-D3AC-7E8998EB41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2" y="1191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0F3D367C-5ABE-6E64-AC4C-7F04892453FB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342900" y="411480"/>
            <a:ext cx="8455914" cy="370332"/>
          </a:xfrm>
        </p:spPr>
        <p:txBody>
          <a:bodyPr vert="horz" lIns="0" tIns="34290" rIns="0" bIns="3429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noProof="1"/>
              <a:t>Markov Chain Routing Model (3)</a:t>
            </a:r>
          </a:p>
        </p:txBody>
      </p:sp>
      <p:sp>
        <p:nvSpPr>
          <p:cNvPr id="29" name="Google Shape;10527;p9415">
            <a:extLst>
              <a:ext uri="{FF2B5EF4-FFF2-40B4-BE49-F238E27FC236}">
                <a16:creationId xmlns:a16="http://schemas.microsoft.com/office/drawing/2014/main" id="{4FFEB157-6598-6A70-1061-5D6959356F5B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530353" y="997837"/>
            <a:ext cx="7341902" cy="504061"/>
          </a:xfrm>
          <a:prstGeom prst="chevron">
            <a:avLst/>
          </a:prstGeom>
          <a:solidFill>
            <a:schemeClr val="bg2"/>
          </a:solidFill>
          <a:ln>
            <a:noFill/>
          </a:ln>
        </p:spPr>
        <p:txBody>
          <a:bodyPr spcFirstLastPara="1" wrap="square" lIns="68580" tIns="34290" rIns="34290" bIns="34290" anchor="ctr" anchorCtr="0"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ts val="1100"/>
            </a:pPr>
            <a:r>
              <a:rPr lang="en-US" sz="1400" noProof="1">
                <a:solidFill>
                  <a:srgbClr val="125E4B"/>
                </a:solidFill>
                <a:latin typeface="+mj-lt"/>
              </a:rPr>
              <a:t>Carrier-Conditioned Dynamics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2" name="Google Shape;703;p114">
                <a:extLst>
                  <a:ext uri="{FF2B5EF4-FFF2-40B4-BE49-F238E27FC236}">
                    <a16:creationId xmlns:a16="http://schemas.microsoft.com/office/drawing/2014/main" id="{299BD239-8525-7C42-3FBF-F49541C21847}"/>
                  </a:ext>
                </a:extLst>
              </p:cNvPr>
              <p:cNvSpPr txBox="1"/>
              <p:nvPr>
                <p:custDataLst>
                  <p:tags r:id="rId5"/>
                </p:custDataLst>
              </p:nvPr>
            </p:nvSpPr>
            <p:spPr>
              <a:xfrm>
                <a:off x="1172228" y="1651000"/>
                <a:ext cx="6794499" cy="225425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68580" tIns="68580" rIns="68580" bIns="34290" anchor="t" anchorCtr="0">
                <a:normAutofit/>
              </a:bodyPr>
              <a:lstStyle>
                <a:defPPr>
                  <a:defRPr lang="en-US"/>
                </a:defPPr>
                <a:lvl1pPr marL="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9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8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7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6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5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4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3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2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spcAft>
                    <a:spcPts val="300"/>
                  </a:spcAft>
                </a:pPr>
                <a:r>
                  <a:rPr lang="en-US" sz="1200" noProof="1"/>
                  <a:t>Shipment flows and routing probabilities are further </a:t>
                </a:r>
                <a:r>
                  <a:rPr lang="en-US" sz="1200" b="1" noProof="1"/>
                  <a:t>conditioned</a:t>
                </a:r>
                <a:r>
                  <a:rPr lang="en-US" sz="1200" noProof="1"/>
                  <a:t> on the specific </a:t>
                </a:r>
                <a:r>
                  <a:rPr lang="en-US" sz="1200" b="1" noProof="1"/>
                  <a:t>carrier</a:t>
                </a:r>
                <a:r>
                  <a:rPr lang="en-US" sz="1200" noProof="1"/>
                  <a:t> to model distinct routing behaviors:</a:t>
                </a:r>
              </a:p>
              <a:p>
                <a:pPr>
                  <a:spcAft>
                    <a:spcPts val="300"/>
                  </a:spcAft>
                </a:pPr>
                <a:r>
                  <a:rPr lang="en-US" sz="1200" noProof="1"/>
                  <a:t>	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it-IT" sz="1200" i="1" noProof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it-IT" sz="1200" i="1" noProof="1">
                            <a:latin typeface="Cambria Math" panose="02040503050406030204" pitchFamily="18" charset="0"/>
                          </a:rPr>
                          <m:t>𝑓</m:t>
                        </m:r>
                      </m:e>
                      <m:sup>
                        <m:r>
                          <a:rPr lang="it-IT" sz="1200" i="1" noProof="1">
                            <a:latin typeface="Cambria Math" panose="02040503050406030204" pitchFamily="18" charset="0"/>
                          </a:rPr>
                          <m:t>𝑐</m:t>
                        </m:r>
                      </m:sup>
                    </m:sSup>
                    <m:d>
                      <m:dPr>
                        <m:ctrlPr>
                          <a:rPr lang="it-IT" sz="1200" i="1" noProof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it-IT" sz="1200" i="1" noProof="1">
                            <a:latin typeface="Cambria Math" panose="02040503050406030204" pitchFamily="18" charset="0"/>
                          </a:rPr>
                          <m:t>𝑣</m:t>
                        </m:r>
                        <m:r>
                          <a:rPr lang="it-IT" sz="1200" i="1" noProof="1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it-IT" sz="1200" i="1" noProof="1">
                            <a:latin typeface="Cambria Math" panose="02040503050406030204" pitchFamily="18" charset="0"/>
                          </a:rPr>
                          <m:t>𝑢</m:t>
                        </m:r>
                      </m:e>
                    </m:d>
                    <m:r>
                      <a:rPr lang="it-IT" sz="1200" i="1" noProof="1">
                        <a:latin typeface="Cambria Math" panose="02040503050406030204" pitchFamily="18" charset="0"/>
                      </a:rPr>
                      <m:t>=</m:t>
                    </m:r>
                    <m:r>
                      <m:rPr>
                        <m:sty m:val="p"/>
                      </m:rPr>
                      <a:rPr lang="it-IT" sz="1200" noProof="1">
                        <a:latin typeface="Cambria Math" panose="02040503050406030204" pitchFamily="18" charset="0"/>
                      </a:rPr>
                      <m:t>number</m:t>
                    </m:r>
                    <m:r>
                      <a:rPr lang="it-IT" sz="1200" noProof="1">
                        <a:latin typeface="Cambria Math" panose="02040503050406030204" pitchFamily="18" charset="0"/>
                      </a:rPr>
                      <m:t> </m:t>
                    </m:r>
                    <m:r>
                      <m:rPr>
                        <m:sty m:val="p"/>
                      </m:rPr>
                      <a:rPr lang="it-IT" sz="1200" noProof="1">
                        <a:latin typeface="Cambria Math" panose="02040503050406030204" pitchFamily="18" charset="0"/>
                      </a:rPr>
                      <m:t>of</m:t>
                    </m:r>
                    <m:r>
                      <a:rPr lang="it-IT" sz="1200" noProof="1">
                        <a:latin typeface="Cambria Math" panose="02040503050406030204" pitchFamily="18" charset="0"/>
                      </a:rPr>
                      <m:t> </m:t>
                    </m:r>
                    <m:r>
                      <m:rPr>
                        <m:sty m:val="p"/>
                      </m:rPr>
                      <a:rPr lang="it-IT" sz="1200" noProof="1">
                        <a:latin typeface="Cambria Math" panose="02040503050406030204" pitchFamily="18" charset="0"/>
                      </a:rPr>
                      <m:t>shipments</m:t>
                    </m:r>
                    <m:r>
                      <a:rPr lang="it-IT" sz="1200" noProof="1">
                        <a:latin typeface="Cambria Math" panose="02040503050406030204" pitchFamily="18" charset="0"/>
                      </a:rPr>
                      <m:t> </m:t>
                    </m:r>
                    <m:r>
                      <m:rPr>
                        <m:sty m:val="p"/>
                      </m:rPr>
                      <a:rPr lang="it-IT" sz="1200" noProof="1">
                        <a:latin typeface="Cambria Math" panose="02040503050406030204" pitchFamily="18" charset="0"/>
                      </a:rPr>
                      <m:t>from</m:t>
                    </m:r>
                    <m:r>
                      <a:rPr lang="it-IT" sz="1200" noProof="1">
                        <a:latin typeface="Cambria Math" panose="02040503050406030204" pitchFamily="18" charset="0"/>
                      </a:rPr>
                      <m:t> </m:t>
                    </m:r>
                    <m:r>
                      <a:rPr lang="it-IT" sz="1200" i="1" noProof="1">
                        <a:latin typeface="Cambria Math" panose="02040503050406030204" pitchFamily="18" charset="0"/>
                      </a:rPr>
                      <m:t>𝑣</m:t>
                    </m:r>
                    <m:r>
                      <a:rPr lang="it-IT" sz="1200" i="1" noProof="1">
                        <a:latin typeface="Cambria Math" panose="02040503050406030204" pitchFamily="18" charset="0"/>
                      </a:rPr>
                      <m:t> </m:t>
                    </m:r>
                    <m:r>
                      <m:rPr>
                        <m:sty m:val="p"/>
                      </m:rPr>
                      <a:rPr lang="it-IT" sz="1200" noProof="1">
                        <a:latin typeface="Cambria Math" panose="02040503050406030204" pitchFamily="18" charset="0"/>
                      </a:rPr>
                      <m:t>to</m:t>
                    </m:r>
                    <m:r>
                      <a:rPr lang="it-IT" sz="1200" i="1" noProof="1">
                        <a:latin typeface="Cambria Math" panose="02040503050406030204" pitchFamily="18" charset="0"/>
                      </a:rPr>
                      <m:t> </m:t>
                    </m:r>
                    <m:r>
                      <a:rPr lang="it-IT" sz="1200" i="1" noProof="1">
                        <a:latin typeface="Cambria Math" panose="02040503050406030204" pitchFamily="18" charset="0"/>
                      </a:rPr>
                      <m:t>𝑢</m:t>
                    </m:r>
                    <m:r>
                      <a:rPr lang="it-IT" sz="1200" i="1" noProof="1">
                        <a:latin typeface="Cambria Math" panose="02040503050406030204" pitchFamily="18" charset="0"/>
                      </a:rPr>
                      <m:t> </m:t>
                    </m:r>
                    <m:r>
                      <m:rPr>
                        <m:sty m:val="p"/>
                      </m:rPr>
                      <a:rPr lang="it-IT" sz="1200" i="1" noProof="1">
                        <a:latin typeface="Cambria Math" panose="02040503050406030204" pitchFamily="18" charset="0"/>
                      </a:rPr>
                      <m:t>executed</m:t>
                    </m:r>
                    <m:r>
                      <a:rPr lang="it-IT" sz="1200" i="1" noProof="1">
                        <a:latin typeface="Cambria Math" panose="02040503050406030204" pitchFamily="18" charset="0"/>
                      </a:rPr>
                      <m:t> </m:t>
                    </m:r>
                    <m:r>
                      <m:rPr>
                        <m:sty m:val="p"/>
                      </m:rPr>
                      <a:rPr lang="it-IT" sz="1200" i="1" noProof="1">
                        <a:latin typeface="Cambria Math" panose="02040503050406030204" pitchFamily="18" charset="0"/>
                      </a:rPr>
                      <m:t>by</m:t>
                    </m:r>
                    <m:r>
                      <a:rPr lang="it-IT" sz="1200" i="1" noProof="1">
                        <a:latin typeface="Cambria Math" panose="02040503050406030204" pitchFamily="18" charset="0"/>
                      </a:rPr>
                      <m:t> </m:t>
                    </m:r>
                    <m:r>
                      <m:rPr>
                        <m:sty m:val="p"/>
                      </m:rPr>
                      <a:rPr lang="it-IT" sz="1200" i="1" noProof="1">
                        <a:latin typeface="Cambria Math" panose="02040503050406030204" pitchFamily="18" charset="0"/>
                      </a:rPr>
                      <m:t>carrier</m:t>
                    </m:r>
                    <m:r>
                      <a:rPr lang="it-IT" sz="1200" i="1" noProof="1">
                        <a:latin typeface="Cambria Math" panose="02040503050406030204" pitchFamily="18" charset="0"/>
                      </a:rPr>
                      <m:t> </m:t>
                    </m:r>
                    <m:r>
                      <a:rPr lang="it-IT" sz="1200" i="1" noProof="1">
                        <a:latin typeface="Cambria Math" panose="02040503050406030204" pitchFamily="18" charset="0"/>
                      </a:rPr>
                      <m:t>𝑐</m:t>
                    </m:r>
                  </m:oMath>
                </a14:m>
                <a:endParaRPr lang="en-US" sz="1200" i="1" noProof="1"/>
              </a:p>
              <a:p>
                <a:pPr>
                  <a:spcAft>
                    <a:spcPts val="300"/>
                  </a:spcAft>
                </a:pPr>
                <a:r>
                  <a:rPr lang="en-US" sz="1200" noProof="1"/>
                  <a:t>
Vertices without observed carrier-specific transitions default to self-loops to preserve stochasticity:</a:t>
                </a:r>
              </a:p>
              <a:p>
                <a:pPr>
                  <a:spcAft>
                    <a:spcPts val="3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it-IT" sz="1200" i="1" noProof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it-IT" sz="1200" i="1" noProof="1">
                              <a:latin typeface="Cambria Math" panose="02040503050406030204" pitchFamily="18" charset="0"/>
                            </a:rPr>
                            <m:t>𝑓</m:t>
                          </m:r>
                        </m:e>
                        <m:sub>
                          <m:r>
                            <a:rPr lang="it-IT" sz="1200" i="1" noProof="1">
                              <a:latin typeface="Cambria Math" panose="02040503050406030204" pitchFamily="18" charset="0"/>
                            </a:rPr>
                            <m:t>𝑣</m:t>
                          </m:r>
                        </m:sub>
                        <m:sup>
                          <m:r>
                            <a:rPr lang="it-IT" sz="1200" i="1" noProof="1">
                              <a:latin typeface="Cambria Math" panose="02040503050406030204" pitchFamily="18" charset="0"/>
                            </a:rPr>
                            <m:t>𝑐</m:t>
                          </m:r>
                        </m:sup>
                      </m:sSubSup>
                      <m:d>
                        <m:dPr>
                          <m:ctrlPr>
                            <a:rPr lang="it-IT" sz="1200" i="1" noProof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it-IT" sz="1200" i="1" noProof="1">
                              <a:latin typeface="Cambria Math" panose="02040503050406030204" pitchFamily="18" charset="0"/>
                            </a:rPr>
                            <m:t>𝑣</m:t>
                          </m:r>
                        </m:e>
                      </m:d>
                      <m:r>
                        <a:rPr lang="it-IT" sz="1200" i="1" noProof="1">
                          <a:latin typeface="Cambria Math" panose="02040503050406030204" pitchFamily="18" charset="0"/>
                        </a:rPr>
                        <m:t>=0</m:t>
                      </m:r>
                      <m:r>
                        <a:rPr lang="en-US" sz="1200" b="0" i="1" noProof="1" smtClean="0">
                          <a:latin typeface="Cambria Math" panose="02040503050406030204" pitchFamily="18" charset="0"/>
                        </a:rPr>
                        <m:t>⟺</m:t>
                      </m:r>
                      <m:sSubSup>
                        <m:sSubSupPr>
                          <m:ctrlPr>
                            <a:rPr lang="it-IT" sz="1200" i="1" noProof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it-IT" sz="1200" i="1" noProof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𝑃</m:t>
                          </m:r>
                        </m:e>
                        <m:sub>
                          <m:r>
                            <a:rPr lang="it-IT" sz="1200" i="1" noProof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𝑣𝑣</m:t>
                          </m:r>
                        </m:sub>
                        <m:sup>
                          <m:r>
                            <a:rPr lang="it-IT" sz="1200" i="1" noProof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𝑐</m:t>
                          </m:r>
                        </m:sup>
                      </m:sSubSup>
                      <m:r>
                        <a:rPr lang="it-IT" sz="1200" i="1" noProof="1">
                          <a:latin typeface="Cambria Math" panose="02040503050406030204" pitchFamily="18" charset="0"/>
                        </a:rPr>
                        <m:t>=1</m:t>
                      </m:r>
                    </m:oMath>
                  </m:oMathPara>
                </a14:m>
                <a:endParaRPr lang="en-US" sz="1200" noProof="1"/>
              </a:p>
            </p:txBody>
          </p:sp>
        </mc:Choice>
        <mc:Fallback xmlns="">
          <p:sp>
            <p:nvSpPr>
              <p:cNvPr id="32" name="Google Shape;703;p114">
                <a:extLst>
                  <a:ext uri="{FF2B5EF4-FFF2-40B4-BE49-F238E27FC236}">
                    <a16:creationId xmlns:a16="http://schemas.microsoft.com/office/drawing/2014/main" id="{299BD239-8525-7C42-3FBF-F49541C2184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>
                <p:custDataLst>
                  <p:tags r:id="rId13"/>
                </p:custDataLst>
              </p:nvPr>
            </p:nvSpPr>
            <p:spPr>
              <a:xfrm>
                <a:off x="1172228" y="1651000"/>
                <a:ext cx="6794499" cy="2254250"/>
              </a:xfrm>
              <a:prstGeom prst="rect">
                <a:avLst/>
              </a:prstGeom>
              <a:blipFill>
                <a:blip r:embed="rId14"/>
                <a:stretch>
                  <a:fillRect l="-359"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095A4D0C-BEEA-7D80-9EEE-0463EC580848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342900" y="255537"/>
            <a:ext cx="8455819" cy="155515"/>
          </a:xfrm>
          <a:prstGeom prst="rect">
            <a:avLst/>
          </a:prstGeom>
        </p:spPr>
        <p:txBody>
          <a:bodyPr vert="horz" lIns="0" tIns="0" rIns="68580" bIns="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cap="all" noProof="1">
                <a:solidFill>
                  <a:schemeClr val="accent1"/>
                </a:solidFill>
                <a:latin typeface="Aptos" panose="020B0004020202020204" pitchFamily="34" charset="0"/>
              </a:rPr>
              <a:t>Supply CHAIN Modeling</a:t>
            </a:r>
            <a:endParaRPr lang="en-US" sz="900" cap="all" noProof="1">
              <a:solidFill>
                <a:schemeClr val="accent1"/>
              </a:solidFill>
              <a:latin typeface="Aptos" panose="020B0004020202020204" pitchFamily="34" charset="0"/>
            </a:endParaRPr>
          </a:p>
        </p:txBody>
      </p:sp>
      <p:sp>
        <p:nvSpPr>
          <p:cNvPr id="10" name="Triangle 9">
            <a:extLst>
              <a:ext uri="{FF2B5EF4-FFF2-40B4-BE49-F238E27FC236}">
                <a16:creationId xmlns:a16="http://schemas.microsoft.com/office/drawing/2014/main" id="{E641971E-E6C6-722F-373E-B7D3586B03D3}"/>
              </a:ext>
            </a:extLst>
          </p:cNvPr>
          <p:cNvSpPr/>
          <p:nvPr/>
        </p:nvSpPr>
        <p:spPr>
          <a:xfrm rot="5400000">
            <a:off x="377391" y="4247374"/>
            <a:ext cx="137160" cy="82296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013" noProof="1"/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9194B36E-F097-7DAA-7F98-780C42211225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342900" y="3946274"/>
            <a:ext cx="8509000" cy="821656"/>
          </a:xfrm>
          <a:prstGeom prst="rect">
            <a:avLst/>
          </a:prstGeom>
          <a:solidFill>
            <a:schemeClr val="bg2"/>
          </a:solidFill>
        </p:spPr>
        <p:txBody>
          <a:bodyPr vert="horz" lIns="68580" tIns="68580" rIns="68580" bIns="68580" rtlCol="0" anchor="ctr"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0000"/>
              </a:lnSpc>
            </a:pPr>
            <a:r>
              <a:rPr lang="en-US" sz="1400" b="1" noProof="1">
                <a:solidFill>
                  <a:srgbClr val="125E4B"/>
                </a:solidFill>
              </a:rPr>
              <a:t>Shipments</a:t>
            </a:r>
            <a:r>
              <a:rPr lang="en-US" sz="1400" noProof="1">
                <a:solidFill>
                  <a:srgbClr val="125E4B"/>
                </a:solidFill>
              </a:rPr>
              <a:t> are represented as </a:t>
            </a:r>
            <a:r>
              <a:rPr lang="en-US" sz="1400" b="1" noProof="1">
                <a:solidFill>
                  <a:srgbClr val="125E4B"/>
                </a:solidFill>
              </a:rPr>
              <a:t>maximal paths </a:t>
            </a:r>
            <a:r>
              <a:rPr lang="en-US" sz="1400" noProof="1">
                <a:solidFill>
                  <a:srgbClr val="125E4B"/>
                </a:solidFill>
              </a:rPr>
              <a:t>ending in the manufacturer. The </a:t>
            </a:r>
            <a:r>
              <a:rPr lang="en-US" sz="1400" b="1" noProof="1">
                <a:solidFill>
                  <a:srgbClr val="125E4B"/>
                </a:solidFill>
              </a:rPr>
              <a:t>routing process </a:t>
            </a:r>
            <a:r>
              <a:rPr lang="en-US" sz="1400" noProof="1">
                <a:solidFill>
                  <a:srgbClr val="125E4B"/>
                </a:solidFill>
              </a:rPr>
              <a:t>is modeled using </a:t>
            </a:r>
            <a:r>
              <a:rPr lang="en-US" sz="1400" b="1" noProof="1">
                <a:solidFill>
                  <a:srgbClr val="125E4B"/>
                </a:solidFill>
              </a:rPr>
              <a:t>discrete-time Markov chains</a:t>
            </a:r>
            <a:r>
              <a:rPr lang="en-US" sz="1400" noProof="1">
                <a:solidFill>
                  <a:srgbClr val="125E4B"/>
                </a:solidFill>
              </a:rPr>
              <a:t>, capturing shipment trajectories as </a:t>
            </a:r>
            <a:r>
              <a:rPr lang="en-US" sz="1400" b="1" noProof="1">
                <a:solidFill>
                  <a:srgbClr val="125E4B"/>
                </a:solidFill>
              </a:rPr>
              <a:t>stochastic processes </a:t>
            </a:r>
            <a:r>
              <a:rPr lang="en-US" sz="1400" noProof="1">
                <a:solidFill>
                  <a:srgbClr val="125E4B"/>
                </a:solidFill>
              </a:rPr>
              <a:t>based on </a:t>
            </a:r>
            <a:r>
              <a:rPr lang="en-US" sz="1400" b="1" noProof="1">
                <a:solidFill>
                  <a:srgbClr val="125E4B"/>
                </a:solidFill>
              </a:rPr>
              <a:t>empirical</a:t>
            </a:r>
            <a:r>
              <a:rPr lang="en-US" sz="1400" noProof="1">
                <a:solidFill>
                  <a:srgbClr val="125E4B"/>
                </a:solidFill>
              </a:rPr>
              <a:t> </a:t>
            </a:r>
            <a:r>
              <a:rPr lang="en-US" sz="1400" b="1" noProof="1">
                <a:solidFill>
                  <a:srgbClr val="125E4B"/>
                </a:solidFill>
              </a:rPr>
              <a:t>transition</a:t>
            </a:r>
            <a:r>
              <a:rPr lang="en-US" sz="1400" noProof="1">
                <a:solidFill>
                  <a:srgbClr val="125E4B"/>
                </a:solidFill>
              </a:rPr>
              <a:t> </a:t>
            </a:r>
            <a:r>
              <a:rPr lang="en-US" sz="1400" b="1" noProof="1">
                <a:solidFill>
                  <a:srgbClr val="125E4B"/>
                </a:solidFill>
              </a:rPr>
              <a:t>probabilities</a:t>
            </a:r>
            <a:r>
              <a:rPr lang="en-US" sz="1400" noProof="1">
                <a:solidFill>
                  <a:srgbClr val="125E4B"/>
                </a:solidFill>
              </a:rPr>
              <a:t> derived from </a:t>
            </a:r>
            <a:r>
              <a:rPr lang="en-US" sz="1400" b="1" noProof="1">
                <a:solidFill>
                  <a:srgbClr val="125E4B"/>
                </a:solidFill>
              </a:rPr>
              <a:t>historical</a:t>
            </a:r>
            <a:r>
              <a:rPr lang="en-US" sz="1400" noProof="1">
                <a:solidFill>
                  <a:srgbClr val="125E4B"/>
                </a:solidFill>
              </a:rPr>
              <a:t> </a:t>
            </a:r>
            <a:r>
              <a:rPr lang="en-US" sz="1400" b="1" noProof="1">
                <a:solidFill>
                  <a:srgbClr val="125E4B"/>
                </a:solidFill>
              </a:rPr>
              <a:t>shipment</a:t>
            </a:r>
            <a:r>
              <a:rPr lang="en-US" sz="1400" noProof="1">
                <a:solidFill>
                  <a:srgbClr val="125E4B"/>
                </a:solidFill>
              </a:rPr>
              <a:t> </a:t>
            </a:r>
            <a:r>
              <a:rPr lang="en-US" sz="1400" b="1" noProof="1">
                <a:solidFill>
                  <a:srgbClr val="125E4B"/>
                </a:solidFill>
              </a:rPr>
              <a:t>flows</a:t>
            </a:r>
            <a:r>
              <a:rPr lang="en-US" sz="1400" noProof="1">
                <a:solidFill>
                  <a:srgbClr val="125E4B"/>
                </a:solidFill>
              </a:rPr>
              <a:t>.</a:t>
            </a:r>
          </a:p>
        </p:txBody>
      </p:sp>
      <p:sp>
        <p:nvSpPr>
          <p:cNvPr id="6" name="Google Shape;10527;p9415">
            <a:extLst>
              <a:ext uri="{FF2B5EF4-FFF2-40B4-BE49-F238E27FC236}">
                <a16:creationId xmlns:a16="http://schemas.microsoft.com/office/drawing/2014/main" id="{DA0B2113-4DAF-8BEF-E2E0-B4A3EACDB7C6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232344" y="997834"/>
            <a:ext cx="649004" cy="504061"/>
          </a:xfrm>
          <a:prstGeom prst="chevron">
            <a:avLst/>
          </a:prstGeom>
          <a:solidFill>
            <a:schemeClr val="bg2"/>
          </a:solidFill>
          <a:ln>
            <a:noFill/>
          </a:ln>
        </p:spPr>
        <p:txBody>
          <a:bodyPr spcFirstLastPara="1" wrap="square" lIns="68580" tIns="34290" rIns="34290" bIns="34290" anchor="ctr" anchorCtr="0"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ts val="1100"/>
            </a:pPr>
            <a:endParaRPr lang="en-US" sz="1400" noProof="1">
              <a:solidFill>
                <a:srgbClr val="4F8161"/>
              </a:solidFill>
              <a:latin typeface="+mj-lt"/>
            </a:endParaRPr>
          </a:p>
        </p:txBody>
      </p:sp>
      <p:sp>
        <p:nvSpPr>
          <p:cNvPr id="7" name="Google Shape;10527;p9415">
            <a:extLst>
              <a:ext uri="{FF2B5EF4-FFF2-40B4-BE49-F238E27FC236}">
                <a16:creationId xmlns:a16="http://schemas.microsoft.com/office/drawing/2014/main" id="{8FE9168D-630E-65E1-9496-E782A3EAF13F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881348" y="997834"/>
            <a:ext cx="649004" cy="504061"/>
          </a:xfrm>
          <a:prstGeom prst="chevron">
            <a:avLst/>
          </a:prstGeom>
          <a:solidFill>
            <a:schemeClr val="bg2"/>
          </a:solidFill>
          <a:ln>
            <a:noFill/>
          </a:ln>
        </p:spPr>
        <p:txBody>
          <a:bodyPr spcFirstLastPara="1" wrap="square" lIns="68580" tIns="34290" rIns="34290" bIns="34290" anchor="ctr" anchorCtr="0"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ts val="1100"/>
            </a:pPr>
            <a:endParaRPr lang="en-US" sz="1400" noProof="1">
              <a:solidFill>
                <a:srgbClr val="4F8161"/>
              </a:solidFill>
              <a:latin typeface="+mj-lt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0147197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3D57C67-3564-8DAF-AD12-2C9FB798DE9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B046862-10BA-B325-35F9-A3A6BD9E0FD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1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7772400" imgH="10058400" progId="TCLayout.ActiveDocument.1">
                  <p:embed/>
                </p:oleObj>
              </mc:Choice>
              <mc:Fallback>
                <p:oleObj name="think-cell Slide" r:id="rId12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B046862-10BA-B325-35F9-A3A6BD9E0F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192" y="1191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6BBDECDC-BDF4-80F0-DC2E-D46780DD079E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 vert="horz" lIns="0" tIns="34290" rIns="0" bIns="3429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noProof="1"/>
              <a:t>Paths Extraction and Probability Distributions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E0A5BD79-5368-6F78-A881-93DB972B104D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342900" y="255537"/>
            <a:ext cx="8455819" cy="155515"/>
          </a:xfrm>
          <a:prstGeom prst="rect">
            <a:avLst/>
          </a:prstGeom>
        </p:spPr>
        <p:txBody>
          <a:bodyPr vert="horz" lIns="0" tIns="0" rIns="68580" bIns="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cap="all" noProof="1">
                <a:solidFill>
                  <a:schemeClr val="accent1"/>
                </a:solidFill>
                <a:latin typeface="Aptos" panose="020B0004020202020204" pitchFamily="34" charset="0"/>
              </a:rPr>
              <a:t>Supply CHAIN Modeling</a:t>
            </a:r>
            <a:endParaRPr lang="en-US" sz="900" cap="all" noProof="1">
              <a:solidFill>
                <a:schemeClr val="accent1"/>
              </a:solidFill>
              <a:latin typeface="Aptos" panose="020B0004020202020204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9" name="Google Shape;703;p114">
                <a:extLst>
                  <a:ext uri="{FF2B5EF4-FFF2-40B4-BE49-F238E27FC236}">
                    <a16:creationId xmlns:a16="http://schemas.microsoft.com/office/drawing/2014/main" id="{7707F636-224E-59C8-D955-5BFD13D43C27}"/>
                  </a:ext>
                </a:extLst>
              </p:cNvPr>
              <p:cNvSpPr txBox="1"/>
              <p:nvPr>
                <p:custDataLst>
                  <p:tags r:id="rId5"/>
                </p:custDataLst>
              </p:nvPr>
            </p:nvSpPr>
            <p:spPr>
              <a:xfrm>
                <a:off x="342899" y="1661071"/>
                <a:ext cx="3826825" cy="191586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68580" tIns="68580" rIns="68580" bIns="0" anchor="t" anchorCtr="0">
                <a:noAutofit/>
              </a:bodyPr>
              <a:lstStyle>
                <a:defPPr>
                  <a:defRPr lang="en-US"/>
                </a:defPPr>
                <a:lvl1pPr marL="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9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8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7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6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5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4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3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2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spcAft>
                    <a:spcPts val="600"/>
                  </a:spcAft>
                  <a:buClrTx/>
                </a:pPr>
                <a:r>
                  <a:rPr lang="en-US" sz="1200" noProof="1"/>
                  <a:t>Every </a:t>
                </a:r>
                <a:r>
                  <a:rPr lang="en-US" sz="1200" b="1" noProof="1"/>
                  <a:t>maximal path </a:t>
                </a:r>
                <a:r>
                  <a:rPr lang="en-US" sz="1200" noProof="1"/>
                  <a:t>ends in the manufacturer vertex.</a:t>
                </a:r>
              </a:p>
              <a:p>
                <a:pPr>
                  <a:spcAft>
                    <a:spcPts val="600"/>
                  </a:spcAft>
                  <a:buClrTx/>
                </a:pPr>
                <a:r>
                  <a:rPr lang="en-US" sz="1200" noProof="1"/>
                  <a:t>Modified </a:t>
                </a:r>
                <a:r>
                  <a:rPr lang="en-US" sz="1200" b="1" noProof="1"/>
                  <a:t>Depth-First Search (</a:t>
                </a:r>
                <a:r>
                  <a:rPr lang="en-US" sz="1200" b="1" i="1" noProof="1"/>
                  <a:t>DFS</a:t>
                </a:r>
                <a:r>
                  <a:rPr lang="en-US" sz="1200" b="1" noProof="1"/>
                  <a:t>) </a:t>
                </a:r>
                <a:r>
                  <a:rPr lang="en-US" sz="1200" noProof="1"/>
                  <a:t>collects all shipment paths from a vertex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it-IT" sz="1200" b="0" i="1" noProof="1" smtClean="0">
                        <a:latin typeface="Cambria Math" panose="02040503050406030204" pitchFamily="18" charset="0"/>
                      </a:rPr>
                      <m:t>v</m:t>
                    </m:r>
                  </m:oMath>
                </a14:m>
                <a:r>
                  <a:rPr lang="en-US" sz="1200" noProof="1"/>
                  <a:t> to the manufacturer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it-IT" sz="1200" b="0" i="1" noProof="1" smtClean="0">
                        <a:latin typeface="Cambria Math" panose="02040503050406030204" pitchFamily="18" charset="0"/>
                      </a:rPr>
                      <m:t>m</m:t>
                    </m:r>
                  </m:oMath>
                </a14:m>
                <a:r>
                  <a:rPr lang="en-US" sz="1200" noProof="1"/>
                  <a:t>.</a:t>
                </a:r>
              </a:p>
              <a:p>
                <a:pPr>
                  <a:spcAft>
                    <a:spcPts val="600"/>
                  </a:spcAft>
                  <a:buClrTx/>
                </a:pPr>
                <a:r>
                  <a:rPr lang="en-US" sz="1200" dirty="0"/>
                  <a:t>Despite a possible exponential number of paths, dataset shows only a limited number of routes: </a:t>
                </a:r>
                <a:r>
                  <a:rPr lang="en-US" sz="1200" b="1" dirty="0"/>
                  <a:t>average 4 paths per vertex, maximum 24</a:t>
                </a:r>
                <a:r>
                  <a:rPr lang="en-US" sz="1200" dirty="0"/>
                  <a:t>.</a:t>
                </a:r>
                <a:endParaRPr lang="en-US" sz="1200" noProof="1"/>
              </a:p>
            </p:txBody>
          </p:sp>
        </mc:Choice>
        <mc:Fallback xmlns="">
          <p:sp>
            <p:nvSpPr>
              <p:cNvPr id="19" name="Google Shape;703;p114">
                <a:extLst>
                  <a:ext uri="{FF2B5EF4-FFF2-40B4-BE49-F238E27FC236}">
                    <a16:creationId xmlns:a16="http://schemas.microsoft.com/office/drawing/2014/main" id="{7707F636-224E-59C8-D955-5BFD13D43C2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>
                <p:custDataLst>
                  <p:tags r:id="rId14"/>
                </p:custDataLst>
              </p:nvPr>
            </p:nvSpPr>
            <p:spPr>
              <a:xfrm>
                <a:off x="342899" y="1661071"/>
                <a:ext cx="3826825" cy="1915867"/>
              </a:xfrm>
              <a:prstGeom prst="rect">
                <a:avLst/>
              </a:prstGeom>
              <a:blipFill>
                <a:blip r:embed="rId15"/>
                <a:stretch>
                  <a:fillRect l="-637"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0" name="Google Shape;10527;p9415">
            <a:extLst>
              <a:ext uri="{FF2B5EF4-FFF2-40B4-BE49-F238E27FC236}">
                <a16:creationId xmlns:a16="http://schemas.microsoft.com/office/drawing/2014/main" id="{6A9C5CA5-9CB7-0D8F-5224-E9E36B6EC114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342899" y="1278527"/>
            <a:ext cx="4183380" cy="2880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34290" rIns="68580" bIns="34290" anchor="ctr" anchorCtr="0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ts val="1100"/>
            </a:pPr>
            <a:endParaRPr lang="en-US" sz="1400" noProof="1">
              <a:solidFill>
                <a:schemeClr val="accent3"/>
              </a:solidFill>
              <a:latin typeface="+mj-lt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1" name="Google Shape;703;p114">
                <a:extLst>
                  <a:ext uri="{FF2B5EF4-FFF2-40B4-BE49-F238E27FC236}">
                    <a16:creationId xmlns:a16="http://schemas.microsoft.com/office/drawing/2014/main" id="{18D8ED4D-BC2B-476C-80DE-DB9DC9F2EB90}"/>
                  </a:ext>
                </a:extLst>
              </p:cNvPr>
              <p:cNvSpPr txBox="1"/>
              <p:nvPr>
                <p:custDataLst>
                  <p:tags r:id="rId7"/>
                </p:custDataLst>
              </p:nvPr>
            </p:nvSpPr>
            <p:spPr>
              <a:xfrm>
                <a:off x="4570809" y="1661070"/>
                <a:ext cx="3906441" cy="191586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68580" tIns="68580" rIns="68580" bIns="0" anchor="t" anchorCtr="0">
                <a:noAutofit/>
              </a:bodyPr>
              <a:lstStyle>
                <a:defPPr>
                  <a:defRPr lang="en-US"/>
                </a:defPPr>
                <a:lvl1pPr marL="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9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8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7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6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5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4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3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2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00000"/>
                  </a:lnSpc>
                  <a:spcAft>
                    <a:spcPts val="600"/>
                  </a:spcAft>
                  <a:buClrTx/>
                </a:pPr>
                <a:r>
                  <a:rPr lang="en-US" sz="1200" noProof="1"/>
                  <a:t>Given the collection of all the maximal paths for a vertex </a:t>
                </a:r>
                <a14:m>
                  <m:oMath xmlns:m="http://schemas.openxmlformats.org/officeDocument/2006/math">
                    <m:r>
                      <a:rPr lang="it-IT" sz="1200" b="0" i="1" noProof="1" smtClean="0">
                        <a:latin typeface="Cambria Math" panose="02040503050406030204" pitchFamily="18" charset="0"/>
                      </a:rPr>
                      <m:t>𝑣</m:t>
                    </m:r>
                    <m:r>
                      <a:rPr lang="it-IT" sz="1200" b="0" i="1" noProof="1" smtClean="0">
                        <a:latin typeface="Cambria Math" panose="02040503050406030204" pitchFamily="18" charset="0"/>
                      </a:rPr>
                      <m:t> ∈</m:t>
                    </m:r>
                    <m:r>
                      <a:rPr lang="it-IT" sz="1200" b="0" i="1" noProof="1" smtClean="0">
                        <a:latin typeface="Cambria Math" panose="02040503050406030204" pitchFamily="18" charset="0"/>
                      </a:rPr>
                      <m:t>𝑉</m:t>
                    </m:r>
                  </m:oMath>
                </a14:m>
                <a:r>
                  <a:rPr lang="en-US" sz="1200" noProof="1"/>
                  <a:t>:</a:t>
                </a:r>
              </a:p>
              <a:p>
                <a:pPr>
                  <a:spcAft>
                    <a:spcPts val="600"/>
                  </a:spcAft>
                  <a:buClrTx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it-IT" sz="1200" b="0" i="0" noProof="1" smtClean="0">
                          <a:latin typeface="Cambria Math" panose="02040503050406030204" pitchFamily="18" charset="0"/>
                        </a:rPr>
                        <m:t>Π</m:t>
                      </m:r>
                      <m:d>
                        <m:dPr>
                          <m:ctrlPr>
                            <a:rPr lang="it-IT" sz="1200" b="0" i="1" noProof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it-IT" sz="1200" b="0" i="1" noProof="1" smtClean="0">
                              <a:latin typeface="Cambria Math" panose="02040503050406030204" pitchFamily="18" charset="0"/>
                            </a:rPr>
                            <m:t>𝑣</m:t>
                          </m:r>
                        </m:e>
                      </m:d>
                      <m:r>
                        <a:rPr lang="it-IT" sz="1200" i="1" noProof="1">
                          <a:latin typeface="Cambria Math" panose="02040503050406030204" pitchFamily="18" charset="0"/>
                        </a:rPr>
                        <m:t>={</m:t>
                      </m:r>
                      <m:sSub>
                        <m:sSubPr>
                          <m:ctrlPr>
                            <a:rPr lang="it-IT" sz="1200" i="1" noProof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it-IT" sz="1200" i="1" noProof="1">
                              <a:latin typeface="Cambria Math" panose="02040503050406030204" pitchFamily="18" charset="0"/>
                            </a:rPr>
                            <m:t>𝜋</m:t>
                          </m:r>
                        </m:e>
                        <m:sub>
                          <m:r>
                            <a:rPr lang="it-IT" sz="1200" i="1" noProof="1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it-IT" sz="1200" i="1" noProof="1">
                          <a:latin typeface="Cambria Math" panose="02040503050406030204" pitchFamily="18" charset="0"/>
                        </a:rPr>
                        <m:t>,</m:t>
                      </m:r>
                      <m:sSub>
                        <m:sSubPr>
                          <m:ctrlPr>
                            <a:rPr lang="it-IT" sz="1200" i="1" noProof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it-IT" sz="1200" i="1" noProof="1">
                              <a:latin typeface="Cambria Math" panose="02040503050406030204" pitchFamily="18" charset="0"/>
                            </a:rPr>
                            <m:t>𝜋</m:t>
                          </m:r>
                        </m:e>
                        <m:sub>
                          <m:r>
                            <a:rPr lang="it-IT" sz="1200" i="1" noProof="1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r>
                        <a:rPr lang="it-IT" sz="1200" i="1" noProof="1">
                          <a:latin typeface="Cambria Math" panose="02040503050406030204" pitchFamily="18" charset="0"/>
                        </a:rPr>
                        <m:t>,…,</m:t>
                      </m:r>
                      <m:sSub>
                        <m:sSubPr>
                          <m:ctrlPr>
                            <a:rPr lang="it-IT" sz="1200" i="1" noProof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it-IT" sz="1200" i="1" noProof="1">
                              <a:latin typeface="Cambria Math" panose="02040503050406030204" pitchFamily="18" charset="0"/>
                            </a:rPr>
                            <m:t>𝜋</m:t>
                          </m:r>
                        </m:e>
                        <m:sub>
                          <m:r>
                            <a:rPr lang="it-IT" sz="1200" i="1" noProof="1">
                              <a:latin typeface="Cambria Math" panose="02040503050406030204" pitchFamily="18" charset="0"/>
                            </a:rPr>
                            <m:t>ℓ</m:t>
                          </m:r>
                        </m:sub>
                      </m:sSub>
                      <m:r>
                        <a:rPr lang="it-IT" sz="1200" i="1" noProof="1">
                          <a:latin typeface="Cambria Math" panose="02040503050406030204" pitchFamily="18" charset="0"/>
                        </a:rPr>
                        <m:t>}</m:t>
                      </m:r>
                    </m:oMath>
                  </m:oMathPara>
                </a14:m>
                <a:endParaRPr lang="en-US" sz="1200" noProof="1"/>
              </a:p>
              <a:p>
                <a:pPr>
                  <a:lnSpc>
                    <a:spcPct val="100000"/>
                  </a:lnSpc>
                  <a:spcAft>
                    <a:spcPts val="600"/>
                  </a:spcAft>
                  <a:buClrTx/>
                </a:pPr>
                <a:r>
                  <a:rPr lang="en-US" sz="1200" noProof="1"/>
                  <a:t>The associated paths probabilities conditioned by carrier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it-IT" sz="1200" b="0" i="1" noProof="1" smtClean="0">
                        <a:latin typeface="Cambria Math" panose="02040503050406030204" pitchFamily="18" charset="0"/>
                      </a:rPr>
                      <m:t>c</m:t>
                    </m:r>
                  </m:oMath>
                </a14:m>
                <a:r>
                  <a:rPr lang="en-US" sz="1200" noProof="1"/>
                  <a:t>:</a:t>
                </a:r>
              </a:p>
              <a:p>
                <a:pPr>
                  <a:lnSpc>
                    <a:spcPct val="100000"/>
                  </a:lnSpc>
                  <a:spcAft>
                    <a:spcPts val="600"/>
                  </a:spcAft>
                  <a:buClrTx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it-IT" sz="1200" b="0" i="1" noProof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it-IT" sz="1200" b="1" i="1" noProof="1" smtClean="0">
                              <a:latin typeface="Cambria Math" panose="02040503050406030204" pitchFamily="18" charset="0"/>
                            </a:rPr>
                            <m:t>𝒑</m:t>
                          </m:r>
                        </m:e>
                        <m:sup>
                          <m:r>
                            <a:rPr lang="it-IT" sz="1200" b="0" i="1" noProof="1" smtClean="0">
                              <a:latin typeface="Cambria Math" panose="02040503050406030204" pitchFamily="18" charset="0"/>
                            </a:rPr>
                            <m:t>𝑐</m:t>
                          </m:r>
                        </m:sup>
                      </m:sSup>
                      <m:r>
                        <a:rPr lang="it-IT" sz="1200" b="0" i="1" noProof="1" smtClean="0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ctrlPr>
                            <a:rPr lang="it-IT" sz="1200" b="0" i="1" noProof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it-IT" sz="1200" b="0" i="1" noProof="1" smtClean="0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it-IT" sz="1200" b="0" i="1" noProof="1" smtClean="0">
                                  <a:latin typeface="Cambria Math" panose="02040503050406030204" pitchFamily="18" charset="0"/>
                                </a:rPr>
                                <m:t>𝑝</m:t>
                              </m:r>
                            </m:e>
                            <m:sub>
                              <m:r>
                                <a:rPr lang="it-IT" sz="1200" b="0" i="1" noProof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  <m:sup>
                              <m:r>
                                <a:rPr lang="it-IT" sz="1200" b="0" i="1" noProof="1" smtClean="0">
                                  <a:latin typeface="Cambria Math" panose="02040503050406030204" pitchFamily="18" charset="0"/>
                                </a:rPr>
                                <m:t>𝑐</m:t>
                              </m:r>
                            </m:sup>
                          </m:sSubSup>
                          <m:r>
                            <a:rPr lang="it-IT" sz="1200" b="0" i="1" noProof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sSubSup>
                            <m:sSubSupPr>
                              <m:ctrlPr>
                                <a:rPr lang="it-IT" sz="1200" b="0" i="1" noProof="1" smtClean="0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it-IT" sz="1200" b="0" i="1" noProof="1" smtClean="0">
                                  <a:latin typeface="Cambria Math" panose="02040503050406030204" pitchFamily="18" charset="0"/>
                                </a:rPr>
                                <m:t>𝑝</m:t>
                              </m:r>
                            </m:e>
                            <m:sub>
                              <m:r>
                                <a:rPr lang="it-IT" sz="1200" b="0" i="1" noProof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b>
                            <m:sup>
                              <m:r>
                                <a:rPr lang="it-IT" sz="1200" b="0" i="1" noProof="1" smtClean="0">
                                  <a:latin typeface="Cambria Math" panose="02040503050406030204" pitchFamily="18" charset="0"/>
                                </a:rPr>
                                <m:t>𝑐</m:t>
                              </m:r>
                            </m:sup>
                          </m:sSubSup>
                          <m:r>
                            <a:rPr lang="it-IT" sz="1200" b="0" i="1" noProof="1" smtClean="0">
                              <a:latin typeface="Cambria Math" panose="02040503050406030204" pitchFamily="18" charset="0"/>
                            </a:rPr>
                            <m:t>,…,</m:t>
                          </m:r>
                          <m:sSubSup>
                            <m:sSubSupPr>
                              <m:ctrlPr>
                                <a:rPr lang="it-IT" sz="1200" b="0" i="1" noProof="1" smtClean="0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it-IT" sz="1200" b="0" i="1" noProof="1" smtClean="0">
                                  <a:latin typeface="Cambria Math" panose="02040503050406030204" pitchFamily="18" charset="0"/>
                                </a:rPr>
                                <m:t>𝑝</m:t>
                              </m:r>
                            </m:e>
                            <m:sub>
                              <m:r>
                                <a:rPr lang="it-IT" sz="1200" b="0" i="1" noProof="1" smtClean="0">
                                  <a:latin typeface="Cambria Math" panose="02040503050406030204" pitchFamily="18" charset="0"/>
                                </a:rPr>
                                <m:t>ℓ</m:t>
                              </m:r>
                            </m:sub>
                            <m:sup>
                              <m:r>
                                <a:rPr lang="it-IT" sz="1200" b="0" i="1" noProof="1" smtClean="0">
                                  <a:latin typeface="Cambria Math" panose="02040503050406030204" pitchFamily="18" charset="0"/>
                                </a:rPr>
                                <m:t>𝑐</m:t>
                              </m:r>
                            </m:sup>
                          </m:sSubSup>
                        </m:e>
                      </m:d>
                    </m:oMath>
                  </m:oMathPara>
                </a14:m>
                <a:endParaRPr lang="en-US" sz="1200" noProof="1"/>
              </a:p>
              <a:p>
                <a:pPr>
                  <a:lnSpc>
                    <a:spcPct val="100000"/>
                  </a:lnSpc>
                  <a:spcAft>
                    <a:spcPts val="600"/>
                  </a:spcAft>
                  <a:buClrTx/>
                </a:pPr>
                <a:r>
                  <a:rPr lang="en-US" sz="1200" noProof="1"/>
                  <a:t>Form a valid </a:t>
                </a:r>
                <a:r>
                  <a:rPr lang="en-US" sz="1200" b="1" noProof="1"/>
                  <a:t>probability distribution.</a:t>
                </a:r>
                <a:endParaRPr lang="en-US" sz="1200" noProof="1"/>
              </a:p>
            </p:txBody>
          </p:sp>
        </mc:Choice>
        <mc:Fallback xmlns="">
          <p:sp>
            <p:nvSpPr>
              <p:cNvPr id="21" name="Google Shape;703;p114">
                <a:extLst>
                  <a:ext uri="{FF2B5EF4-FFF2-40B4-BE49-F238E27FC236}">
                    <a16:creationId xmlns:a16="http://schemas.microsoft.com/office/drawing/2014/main" id="{18D8ED4D-BC2B-476C-80DE-DB9DC9F2EB9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>
                <p:custDataLst>
                  <p:tags r:id="rId16"/>
                </p:custDataLst>
              </p:nvPr>
            </p:nvSpPr>
            <p:spPr>
              <a:xfrm>
                <a:off x="4570809" y="1661070"/>
                <a:ext cx="3906441" cy="1915867"/>
              </a:xfrm>
              <a:prstGeom prst="rect">
                <a:avLst/>
              </a:prstGeom>
              <a:blipFill>
                <a:blip r:embed="rId17"/>
                <a:stretch>
                  <a:fillRect l="-624" r="-312"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Google Shape;10527;p9415">
            <a:extLst>
              <a:ext uri="{FF2B5EF4-FFF2-40B4-BE49-F238E27FC236}">
                <a16:creationId xmlns:a16="http://schemas.microsoft.com/office/drawing/2014/main" id="{033098A4-7467-3F7B-F551-58656BA2D057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342899" y="1079212"/>
            <a:ext cx="3826826" cy="28803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68580" tIns="34290" rIns="68580" bIns="34290" anchor="ctr" anchorCtr="0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ts val="1100"/>
            </a:pPr>
            <a:r>
              <a:rPr lang="en-US" sz="1400" noProof="1">
                <a:solidFill>
                  <a:schemeClr val="bg1"/>
                </a:solidFill>
                <a:latin typeface="+mj-lt"/>
              </a:rPr>
              <a:t>1. Paths Extraction Methodology</a:t>
            </a:r>
          </a:p>
        </p:txBody>
      </p:sp>
      <p:sp>
        <p:nvSpPr>
          <p:cNvPr id="5" name="Google Shape;10527;p9415">
            <a:extLst>
              <a:ext uri="{FF2B5EF4-FFF2-40B4-BE49-F238E27FC236}">
                <a16:creationId xmlns:a16="http://schemas.microsoft.com/office/drawing/2014/main" id="{80A80993-C2BE-707C-242B-4ADEFA620597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4570809" y="1079212"/>
            <a:ext cx="3826826" cy="28803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68580" tIns="34290" rIns="68580" bIns="34290" anchor="ctr" anchorCtr="0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ts val="1100"/>
            </a:pPr>
            <a:r>
              <a:rPr lang="en-US" sz="1400" noProof="1">
                <a:solidFill>
                  <a:schemeClr val="bg1"/>
                </a:solidFill>
                <a:latin typeface="+mj-lt"/>
              </a:rPr>
              <a:t>2. Probability Distribution Computation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07299546-006F-2DA1-94F6-8883AE60A43C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>
          <a:xfrm>
            <a:off x="316309" y="3776253"/>
            <a:ext cx="8509000" cy="821656"/>
          </a:xfrm>
          <a:prstGeom prst="rect">
            <a:avLst/>
          </a:prstGeom>
          <a:solidFill>
            <a:schemeClr val="bg2"/>
          </a:solidFill>
        </p:spPr>
        <p:txBody>
          <a:bodyPr vert="horz" lIns="68580" tIns="68580" rIns="68580" bIns="68580" rtlCol="0" anchor="ctr"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0000"/>
              </a:lnSpc>
            </a:pPr>
            <a:r>
              <a:rPr lang="en-US" sz="1400" dirty="0">
                <a:solidFill>
                  <a:srgbClr val="125E4B"/>
                </a:solidFill>
              </a:rPr>
              <a:t>For each vertex, </a:t>
            </a:r>
            <a:r>
              <a:rPr lang="en-US" sz="1400" b="1" dirty="0">
                <a:solidFill>
                  <a:srgbClr val="125E4B"/>
                </a:solidFill>
              </a:rPr>
              <a:t>carrier behavior </a:t>
            </a:r>
            <a:r>
              <a:rPr lang="en-US" sz="1400" dirty="0">
                <a:solidFill>
                  <a:srgbClr val="125E4B"/>
                </a:solidFill>
              </a:rPr>
              <a:t>is modeled by considering </a:t>
            </a:r>
            <a:r>
              <a:rPr lang="en-US" sz="1400" b="1" dirty="0">
                <a:solidFill>
                  <a:srgbClr val="125E4B"/>
                </a:solidFill>
              </a:rPr>
              <a:t>all</a:t>
            </a:r>
            <a:r>
              <a:rPr lang="en-US" sz="1400" dirty="0">
                <a:solidFill>
                  <a:srgbClr val="125E4B"/>
                </a:solidFill>
              </a:rPr>
              <a:t> </a:t>
            </a:r>
            <a:r>
              <a:rPr lang="en-US" sz="1400" b="1" dirty="0">
                <a:solidFill>
                  <a:srgbClr val="125E4B"/>
                </a:solidFill>
              </a:rPr>
              <a:t>possible</a:t>
            </a:r>
            <a:r>
              <a:rPr lang="en-US" sz="1400" dirty="0">
                <a:solidFill>
                  <a:srgbClr val="125E4B"/>
                </a:solidFill>
              </a:rPr>
              <a:t> </a:t>
            </a:r>
            <a:r>
              <a:rPr lang="en-US" sz="1400" b="1" dirty="0">
                <a:solidFill>
                  <a:srgbClr val="125E4B"/>
                </a:solidFill>
              </a:rPr>
              <a:t>paths</a:t>
            </a:r>
            <a:r>
              <a:rPr lang="en-US" sz="1400" dirty="0">
                <a:solidFill>
                  <a:srgbClr val="125E4B"/>
                </a:solidFill>
              </a:rPr>
              <a:t> to the manufacturer, along with the </a:t>
            </a:r>
            <a:r>
              <a:rPr lang="en-US" sz="1400" b="1" dirty="0">
                <a:solidFill>
                  <a:srgbClr val="125E4B"/>
                </a:solidFill>
              </a:rPr>
              <a:t>probability</a:t>
            </a:r>
            <a:r>
              <a:rPr lang="en-US" sz="1400" dirty="0">
                <a:solidFill>
                  <a:srgbClr val="125E4B"/>
                </a:solidFill>
              </a:rPr>
              <a:t> that each path is followed.</a:t>
            </a:r>
            <a:endParaRPr lang="en-US" sz="1400" noProof="1">
              <a:solidFill>
                <a:srgbClr val="125E4B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8402308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75AAC7C5-AD0A-73A5-C1E2-F268E3F8CBB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1" name="Rectangle 10">
            <a:extLst>
              <a:ext uri="{FF2B5EF4-FFF2-40B4-BE49-F238E27FC236}">
                <a16:creationId xmlns:a16="http://schemas.microsoft.com/office/drawing/2014/main" id="{1CDE5036-466F-B9AA-E630-EED454983B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144000" cy="51435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826F21E-1240-F30A-5E2D-FA1835D82B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-320"/>
            <a:ext cx="9144000" cy="5143499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15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38EC238-DF11-FD2C-6E22-C7262A49B41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341640" y="-1290"/>
            <a:ext cx="8812530" cy="5130513"/>
          </a:xfrm>
          <a:prstGeom prst="rect">
            <a:avLst/>
          </a:prstGeom>
          <a:gradFill>
            <a:gsLst>
              <a:gs pos="21000">
                <a:schemeClr val="accent1">
                  <a:lumMod val="50000"/>
                  <a:alpha val="61000"/>
                </a:schemeClr>
              </a:gs>
              <a:gs pos="100000">
                <a:schemeClr val="accent1">
                  <a:alpha val="0"/>
                </a:schemeClr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812E66F3-838B-C523-8CC6-1D7DC743445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454540" y="-968"/>
            <a:ext cx="2706134" cy="5144147"/>
          </a:xfrm>
          <a:prstGeom prst="rect">
            <a:avLst/>
          </a:prstGeom>
          <a:gradFill>
            <a:gsLst>
              <a:gs pos="0">
                <a:schemeClr val="accent1">
                  <a:lumMod val="75000"/>
                  <a:alpha val="0"/>
                </a:schemeClr>
              </a:gs>
              <a:gs pos="99000">
                <a:srgbClr val="000000">
                  <a:alpha val="41000"/>
                </a:srgb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8772FBE8-14CF-003B-64C2-36F16E99C8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5274173">
            <a:off x="4544796" y="584453"/>
            <a:ext cx="3725650" cy="3741293"/>
          </a:xfrm>
          <a:prstGeom prst="ellipse">
            <a:avLst/>
          </a:prstGeom>
          <a:gradFill>
            <a:gsLst>
              <a:gs pos="0">
                <a:schemeClr val="accent1">
                  <a:alpha val="24000"/>
                </a:schemeClr>
              </a:gs>
              <a:gs pos="79000">
                <a:schemeClr val="accent1">
                  <a:lumMod val="60000"/>
                  <a:lumOff val="40000"/>
                  <a:alpha val="0"/>
                </a:schemeClr>
              </a:gs>
            </a:gsLst>
            <a:lin ang="14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191E814-CAAB-4A89-8827-4213CF6342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02664" y="614238"/>
            <a:ext cx="3984667" cy="2451390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r"/>
            <a:r>
              <a:rPr lang="en-US" sz="3600" dirty="0">
                <a:solidFill>
                  <a:srgbClr val="FFFFFF"/>
                </a:solidFill>
              </a:rPr>
              <a:t>Historical Indicators</a:t>
            </a:r>
            <a:endParaRPr lang="en-US" sz="3600" kern="1200" dirty="0">
              <a:solidFill>
                <a:srgbClr val="FFFFFF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05AA9C6-C7E1-3D43-9C1B-255D8DEB81C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4735" y="3360028"/>
            <a:ext cx="9134528" cy="1783472"/>
          </a:xfrm>
          <a:prstGeom prst="rect">
            <a:avLst/>
          </a:prstGeom>
          <a:gradFill>
            <a:gsLst>
              <a:gs pos="0">
                <a:schemeClr val="accent1">
                  <a:lumMod val="75000"/>
                  <a:alpha val="50000"/>
                </a:schemeClr>
              </a:gs>
              <a:gs pos="99000">
                <a:srgbClr val="000000">
                  <a:alpha val="34000"/>
                </a:srgbClr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04A8BA2C-8159-5487-7DC5-5646D1DAE39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 flipH="1">
            <a:off x="5225314" y="1224495"/>
            <a:ext cx="5143179" cy="2694194"/>
          </a:xfrm>
          <a:prstGeom prst="rect">
            <a:avLst/>
          </a:prstGeom>
          <a:gradFill>
            <a:gsLst>
              <a:gs pos="0">
                <a:schemeClr val="accent1">
                  <a:lumMod val="75000"/>
                  <a:alpha val="50000"/>
                </a:schemeClr>
              </a:gs>
              <a:gs pos="99000">
                <a:srgbClr val="000000">
                  <a:alpha val="0"/>
                </a:srgbClr>
              </a:gs>
            </a:gsLst>
            <a:lin ang="15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781610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D832596-1BD2-1A73-EAB4-CE549E2A39E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802CAB30-816E-F7F2-CDC8-A7060DDDB0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1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7772400" imgH="10058400" progId="TCLayout.ActiveDocument.1">
                  <p:embed/>
                </p:oleObj>
              </mc:Choice>
              <mc:Fallback>
                <p:oleObj name="think-cell Slide" r:id="rId12" imgW="7772400" imgH="10058400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02CAB30-816E-F7F2-CDC8-A7060DDDB0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192" y="1191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0ACBE8AD-AD7D-A8AF-5925-1C1ADE05AE45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342900" y="393312"/>
            <a:ext cx="5629275" cy="588212"/>
          </a:xfrm>
        </p:spPr>
        <p:txBody>
          <a:bodyPr vert="horz" lIns="0" tIns="68580" rIns="0" bIns="34290" rtlCol="0" anchor="t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noProof="1"/>
              <a:t>Historical Indicators Definition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" name="Google Shape;703;p114">
                <a:extLst>
                  <a:ext uri="{FF2B5EF4-FFF2-40B4-BE49-F238E27FC236}">
                    <a16:creationId xmlns:a16="http://schemas.microsoft.com/office/drawing/2014/main" id="{594BDEA6-757A-9F94-ABA6-69F5D718406B}"/>
                  </a:ext>
                </a:extLst>
              </p:cNvPr>
              <p:cNvSpPr txBox="1"/>
              <p:nvPr>
                <p:custDataLst>
                  <p:tags r:id="rId4"/>
                </p:custDataLst>
              </p:nvPr>
            </p:nvSpPr>
            <p:spPr>
              <a:xfrm>
                <a:off x="342900" y="1285876"/>
                <a:ext cx="5363936" cy="120336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68580" tIns="68580" rIns="68580" bIns="0" anchor="t" anchorCtr="0">
                <a:noAutofit/>
              </a:bodyPr>
              <a:lstStyle>
                <a:defPPr>
                  <a:defRPr lang="en-US"/>
                </a:defPPr>
                <a:lvl1pPr marL="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9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8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7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6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5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4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3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2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261938" indent="-175022">
                  <a:spcAft>
                    <a:spcPts val="600"/>
                  </a:spcAft>
                </a:pPr>
                <a:r>
                  <a:rPr lang="en-US" sz="1200" b="1" noProof="1"/>
                  <a:t>Dispatch times</a:t>
                </a:r>
                <a:r>
                  <a:rPr lang="en-US" sz="1200" noProof="1"/>
                  <a:t>: a probability distribution for each supplier.</a:t>
                </a:r>
              </a:p>
              <a:p>
                <a:pPr marL="261938" indent="-175022">
                  <a:lnSpc>
                    <a:spcPct val="100000"/>
                  </a:lnSpc>
                  <a:spcAft>
                    <a:spcPts val="6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it-IT" sz="1200" b="0" i="0" noProof="1" smtClean="0">
                          <a:latin typeface="Cambria Math" panose="02040503050406030204" pitchFamily="18" charset="0"/>
                        </a:rPr>
                        <m:t>DT</m:t>
                      </m:r>
                      <m:r>
                        <a:rPr lang="it-IT" sz="1200" b="0" i="1" noProof="1" smtClean="0">
                          <a:latin typeface="Cambria Math" panose="02040503050406030204" pitchFamily="18" charset="0"/>
                        </a:rPr>
                        <m:t>: </m:t>
                      </m:r>
                      <m:r>
                        <a:rPr lang="it-IT" sz="1200" b="0" i="1" noProof="1" smtClean="0">
                          <a:latin typeface="Cambria Math" panose="02040503050406030204" pitchFamily="18" charset="0"/>
                        </a:rPr>
                        <m:t>𝑆</m:t>
                      </m:r>
                      <m:r>
                        <a:rPr lang="it-IT" sz="1200" b="0" i="1" noProof="1" smtClean="0">
                          <a:latin typeface="Cambria Math" panose="02040503050406030204" pitchFamily="18" charset="0"/>
                        </a:rPr>
                        <m:t> →</m:t>
                      </m:r>
                      <m:r>
                        <a:rPr lang="it-IT" sz="1200" b="0" i="1" noProof="1" smtClean="0">
                          <a:latin typeface="Cambria Math" panose="02040503050406030204" pitchFamily="18" charset="0"/>
                        </a:rPr>
                        <m:t>𝒟</m:t>
                      </m:r>
                      <m:d>
                        <m:dPr>
                          <m:ctrlPr>
                            <a:rPr lang="it-IT" sz="1200" b="0" i="1" noProof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it-IT" sz="1200" b="0" i="1" noProof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it-IT" sz="1200" b="0" i="1" noProof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ℝ</m:t>
                              </m:r>
                            </m:e>
                            <m:sub>
                              <m:r>
                                <a:rPr lang="it-IT" sz="1200" b="0" i="1" noProof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+</m:t>
                              </m:r>
                            </m:sub>
                          </m:sSub>
                        </m:e>
                      </m:d>
                    </m:oMath>
                  </m:oMathPara>
                </a14:m>
                <a:endParaRPr lang="it-IT" sz="1200" b="0" i="1" noProof="1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 marL="86916">
                  <a:spcAft>
                    <a:spcPts val="600"/>
                  </a:spcAft>
                </a:pPr>
                <a:r>
                  <a:rPr lang="en-US" sz="1200" b="1" noProof="1"/>
                  <a:t>Shipment times</a:t>
                </a:r>
                <a:r>
                  <a:rPr lang="en-US" sz="1200" noProof="1"/>
                  <a:t>: a probability distribution for each supplier site–carrier pair.</a:t>
                </a:r>
              </a:p>
              <a:p>
                <a:pPr marL="261938" indent="-175022">
                  <a:spcAft>
                    <a:spcPts val="6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it-IT" sz="1200" i="1" noProof="1" smtClean="0">
                          <a:latin typeface="Cambria Math" panose="02040503050406030204" pitchFamily="18" charset="0"/>
                        </a:rPr>
                        <m:t>S</m:t>
                      </m:r>
                      <m:r>
                        <m:rPr>
                          <m:sty m:val="p"/>
                        </m:rPr>
                        <a:rPr lang="it-IT" sz="1200" i="1" noProof="1">
                          <a:latin typeface="Cambria Math" panose="02040503050406030204" pitchFamily="18" charset="0"/>
                        </a:rPr>
                        <m:t>T</m:t>
                      </m:r>
                      <m:r>
                        <a:rPr lang="it-IT" sz="1200" i="1" noProof="1">
                          <a:latin typeface="Cambria Math" panose="02040503050406030204" pitchFamily="18" charset="0"/>
                        </a:rPr>
                        <m:t>: </m:t>
                      </m:r>
                      <m:r>
                        <m:rPr>
                          <m:sty m:val="p"/>
                        </m:rPr>
                        <a:rPr lang="it-IT" sz="1200" i="1" noProof="1">
                          <a:latin typeface="Cambria Math" panose="02040503050406030204" pitchFamily="18" charset="0"/>
                        </a:rPr>
                        <m:t>S</m:t>
                      </m:r>
                      <m:r>
                        <a:rPr lang="it-IT" sz="1200" b="0" i="1" noProof="1" smtClean="0">
                          <a:latin typeface="Cambria Math" panose="02040503050406030204" pitchFamily="18" charset="0"/>
                        </a:rPr>
                        <m:t> ×</m:t>
                      </m:r>
                      <m:r>
                        <m:rPr>
                          <m:sty m:val="p"/>
                        </m:rPr>
                        <a:rPr lang="it-IT" sz="1200" b="0" i="1" noProof="1" smtClean="0">
                          <a:latin typeface="Cambria Math" panose="02040503050406030204" pitchFamily="18" charset="0"/>
                        </a:rPr>
                        <m:t>C</m:t>
                      </m:r>
                      <m:r>
                        <a:rPr lang="it-IT" sz="1200" i="1" noProof="1">
                          <a:latin typeface="Cambria Math" panose="02040503050406030204" pitchFamily="18" charset="0"/>
                        </a:rPr>
                        <m:t> →</m:t>
                      </m:r>
                      <m:r>
                        <a:rPr lang="it-IT" sz="1200" i="1" noProof="1">
                          <a:latin typeface="Cambria Math" panose="02040503050406030204" pitchFamily="18" charset="0"/>
                        </a:rPr>
                        <m:t>𝒟</m:t>
                      </m:r>
                      <m:d>
                        <m:dPr>
                          <m:ctrlPr>
                            <a:rPr lang="it-IT" sz="1200" i="1" noProof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it-IT" sz="1200" i="1" noProof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it-IT" sz="1200" i="1" noProof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ℝ</m:t>
                              </m:r>
                            </m:e>
                            <m:sub>
                              <m:r>
                                <a:rPr lang="it-IT" sz="1200" i="1" noProof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+</m:t>
                              </m:r>
                            </m:sub>
                          </m:sSub>
                        </m:e>
                      </m:d>
                    </m:oMath>
                  </m:oMathPara>
                </a14:m>
                <a:endParaRPr lang="it-IT" sz="1200" b="0" i="1" noProof="1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6" name="Google Shape;703;p114">
                <a:extLst>
                  <a:ext uri="{FF2B5EF4-FFF2-40B4-BE49-F238E27FC236}">
                    <a16:creationId xmlns:a16="http://schemas.microsoft.com/office/drawing/2014/main" id="{594BDEA6-757A-9F94-ABA6-69F5D718406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>
                <p:custDataLst>
                  <p:tags r:id="rId14"/>
                </p:custDataLst>
              </p:nvPr>
            </p:nvSpPr>
            <p:spPr>
              <a:xfrm>
                <a:off x="342900" y="1285876"/>
                <a:ext cx="5363936" cy="1203360"/>
              </a:xfrm>
              <a:prstGeom prst="rect">
                <a:avLst/>
              </a:prstGeom>
              <a:blipFill>
                <a:blip r:embed="rId15"/>
                <a:stretch>
                  <a:fillRect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410BB486-7D1E-DCB6-E765-F3022AD20C2C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342900" y="255537"/>
            <a:ext cx="8455819" cy="155515"/>
          </a:xfrm>
          <a:prstGeom prst="rect">
            <a:avLst/>
          </a:prstGeom>
        </p:spPr>
        <p:txBody>
          <a:bodyPr vert="horz" lIns="0" tIns="0" rIns="68580" bIns="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000" cap="all" noProof="1">
                <a:solidFill>
                  <a:schemeClr val="accent1"/>
                </a:solidFill>
                <a:latin typeface="Aptos" panose="020B0004020202020204" pitchFamily="34" charset="0"/>
              </a:rPr>
              <a:t>HISTORICAL Indicators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E62CD5BF-5AA1-1CB0-1340-859912AA13B7}"/>
              </a:ext>
            </a:extLst>
          </p:cNvPr>
          <p:cNvSpPr>
            <a:spLocks noGrp="1"/>
          </p:cNvSpPr>
          <p:nvPr>
            <p:ph type="body" sz="quarter" idx="15"/>
            <p:custDataLst>
              <p:tags r:id="rId6"/>
            </p:custDataLst>
          </p:nvPr>
        </p:nvSpPr>
        <p:spPr>
          <a:xfrm>
            <a:off x="5915892" y="1"/>
            <a:ext cx="3228108" cy="5143500"/>
          </a:xfrm>
          <a:solidFill>
            <a:schemeClr val="bg2"/>
          </a:solidFill>
        </p:spPr>
        <p:txBody>
          <a:bodyPr lIns="342900" tIns="68580" rIns="274320" bIns="6858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0000"/>
              </a:lnSpc>
            </a:pPr>
            <a:endParaRPr lang="en-US" sz="1400" noProof="1">
              <a:solidFill>
                <a:schemeClr val="accent3"/>
              </a:solidFill>
            </a:endParaRPr>
          </a:p>
          <a:p>
            <a:pPr>
              <a:lnSpc>
                <a:spcPct val="110000"/>
              </a:lnSpc>
            </a:pPr>
            <a:endParaRPr lang="en-US" sz="1400" noProof="1">
              <a:solidFill>
                <a:schemeClr val="accent3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2" name="Google Shape;703;p114">
                <a:extLst>
                  <a:ext uri="{FF2B5EF4-FFF2-40B4-BE49-F238E27FC236}">
                    <a16:creationId xmlns:a16="http://schemas.microsoft.com/office/drawing/2014/main" id="{BC560D40-91EB-9882-C2E4-FD172E49DFB6}"/>
                  </a:ext>
                </a:extLst>
              </p:cNvPr>
              <p:cNvSpPr txBox="1"/>
              <p:nvPr>
                <p:custDataLst>
                  <p:tags r:id="rId7"/>
                </p:custDataLst>
              </p:nvPr>
            </p:nvSpPr>
            <p:spPr>
              <a:xfrm>
                <a:off x="342899" y="3077876"/>
                <a:ext cx="5363936" cy="179014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68580" tIns="68580" rIns="68580" bIns="0" anchor="t" anchorCtr="0">
                <a:noAutofit/>
              </a:bodyPr>
              <a:lstStyle>
                <a:defPPr>
                  <a:defRPr lang="en-US"/>
                </a:defPPr>
                <a:lvl1pPr marL="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9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8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7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6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5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4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3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2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261938" indent="-175022">
                  <a:lnSpc>
                    <a:spcPct val="100000"/>
                  </a:lnSpc>
                  <a:spcAft>
                    <a:spcPts val="600"/>
                  </a:spcAft>
                </a:pPr>
                <a:r>
                  <a:rPr lang="it-IT" sz="1200" noProof="1">
                    <a:ea typeface="Cambria Math" panose="02040503050406030204" pitchFamily="18" charset="0"/>
                  </a:rPr>
                  <a:t>Two different metrics for </a:t>
                </a:r>
                <a:r>
                  <a:rPr lang="it-IT" sz="1200" b="1" noProof="1">
                    <a:ea typeface="Cambria Math" panose="02040503050406030204" pitchFamily="18" charset="0"/>
                  </a:rPr>
                  <a:t>both operational stages</a:t>
                </a:r>
                <a:r>
                  <a:rPr lang="it-IT" sz="1200" noProof="1">
                    <a:ea typeface="Cambria Math" panose="02040503050406030204" pitchFamily="18" charset="0"/>
                  </a:rPr>
                  <a:t>:</a:t>
                </a:r>
              </a:p>
              <a:p>
                <a:pPr marL="261938" indent="-175022">
                  <a:lnSpc>
                    <a:spcPct val="100000"/>
                  </a:lnSpc>
                  <a:spcAft>
                    <a:spcPts val="600"/>
                  </a:spcAft>
                  <a:buFont typeface="Arial" panose="020B0604020202020204" pitchFamily="34" charset="0"/>
                  <a:buChar char="•"/>
                </a:pPr>
                <a:r>
                  <a:rPr lang="it-IT" sz="1200" b="1" noProof="1">
                    <a:ea typeface="Cambria Math" panose="02040503050406030204" pitchFamily="18" charset="0"/>
                  </a:rPr>
                  <a:t>Pointwise</a:t>
                </a:r>
                <a:r>
                  <a:rPr lang="it-IT" sz="1200" noProof="1">
                    <a:ea typeface="Cambria Math" panose="02040503050406030204" pitchFamily="18" charset="0"/>
                  </a:rPr>
                  <a:t>: expected value of the distribution.</a:t>
                </a:r>
              </a:p>
              <a:p>
                <a:pPr marL="86916">
                  <a:lnSpc>
                    <a:spcPct val="100000"/>
                  </a:lnSpc>
                  <a:spcAft>
                    <a:spcPts val="6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it-IT" sz="1200" b="0" i="0" noProof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D</m:t>
                      </m:r>
                      <m:sSub>
                        <m:sSubPr>
                          <m:ctrlPr>
                            <a:rPr lang="it-IT" sz="1200" b="0" i="1" noProof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it-IT" sz="1200" b="0" i="0" noProof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T</m:t>
                          </m:r>
                        </m:e>
                        <m:sub>
                          <m:r>
                            <a:rPr lang="it-IT" sz="1200" b="0" i="1" noProof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𝜇</m:t>
                          </m:r>
                        </m:sub>
                      </m:sSub>
                      <m:r>
                        <a:rPr lang="it-IT" sz="1200" b="0" i="1" noProof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(</m:t>
                      </m:r>
                      <m:r>
                        <m:rPr>
                          <m:sty m:val="p"/>
                        </m:rPr>
                        <a:rPr lang="it-IT" sz="1200" b="0" i="1" noProof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s</m:t>
                      </m:r>
                      <m:r>
                        <a:rPr lang="it-IT" sz="1200" b="0" i="1" noProof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)=</m:t>
                      </m:r>
                      <m:r>
                        <a:rPr lang="it-IT" sz="1200" b="0" i="1" noProof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𝔼</m:t>
                      </m:r>
                      <m:r>
                        <a:rPr lang="it-IT" sz="1200" b="0" i="1" noProof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[</m:t>
                      </m:r>
                      <m:r>
                        <m:rPr>
                          <m:sty m:val="p"/>
                        </m:rPr>
                        <a:rPr lang="it-IT" sz="1200" b="0" i="1" noProof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DT</m:t>
                      </m:r>
                      <m:r>
                        <a:rPr lang="it-IT" sz="1200" b="0" i="1" noProof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(</m:t>
                      </m:r>
                      <m:r>
                        <m:rPr>
                          <m:sty m:val="p"/>
                        </m:rPr>
                        <a:rPr lang="it-IT" sz="1200" b="0" i="1" noProof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s</m:t>
                      </m:r>
                      <m:r>
                        <a:rPr lang="it-IT" sz="1200" b="0" i="1" noProof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)],  ∀</m:t>
                      </m:r>
                      <m:r>
                        <m:rPr>
                          <m:sty m:val="p"/>
                        </m:rPr>
                        <a:rPr lang="it-IT" sz="1200" b="0" i="1" noProof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s</m:t>
                      </m:r>
                      <m:r>
                        <a:rPr lang="it-IT" sz="1200" b="0" i="1" noProof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∈</m:t>
                      </m:r>
                      <m:r>
                        <m:rPr>
                          <m:sty m:val="p"/>
                        </m:rPr>
                        <a:rPr lang="it-IT" sz="1200" b="0" i="1" noProof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S</m:t>
                      </m:r>
                    </m:oMath>
                  </m:oMathPara>
                </a14:m>
                <a:endParaRPr lang="it-IT" sz="1200" noProof="1">
                  <a:ea typeface="Cambria Math" panose="02040503050406030204" pitchFamily="18" charset="0"/>
                </a:endParaRPr>
              </a:p>
              <a:p>
                <a:pPr marL="261938" indent="-175022">
                  <a:lnSpc>
                    <a:spcPct val="100000"/>
                  </a:lnSpc>
                  <a:spcAft>
                    <a:spcPts val="600"/>
                  </a:spcAft>
                  <a:buFont typeface="Arial" panose="020B0604020202020204" pitchFamily="34" charset="0"/>
                  <a:buChar char="•"/>
                </a:pPr>
                <a:r>
                  <a:rPr lang="it-IT" sz="1200" b="1" noProof="1">
                    <a:ea typeface="Cambria Math" panose="02040503050406030204" pitchFamily="18" charset="0"/>
                  </a:rPr>
                  <a:t>Interval-based:</a:t>
                </a:r>
                <a:r>
                  <a:rPr lang="it-IT" sz="1200" noProof="1">
                    <a:ea typeface="Cambria Math" panose="02040503050406030204" pitchFamily="18" charset="0"/>
                  </a:rPr>
                  <a:t> </a:t>
                </a:r>
                <a:r>
                  <a:rPr lang="el-GR" sz="1200" noProof="1">
                    <a:ea typeface="Cambria Math" panose="02040503050406030204" pitchFamily="18" charset="0"/>
                  </a:rPr>
                  <a:t>β</a:t>
                </a:r>
                <a:r>
                  <a:rPr lang="it-IT" sz="1200" noProof="1">
                    <a:ea typeface="Cambria Math" panose="02040503050406030204" pitchFamily="18" charset="0"/>
                  </a:rPr>
                  <a:t>-level confidence interval of the distribution.</a:t>
                </a:r>
              </a:p>
              <a:p>
                <a:pPr marL="86916">
                  <a:spcAft>
                    <a:spcPts val="6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it-IT" sz="1200" i="0" noProof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D</m:t>
                      </m:r>
                      <m:sSub>
                        <m:sSubPr>
                          <m:ctrlPr>
                            <a:rPr lang="it-IT" sz="1200" i="1" noProof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it-IT" sz="1200" i="0" noProof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T</m:t>
                          </m:r>
                        </m:e>
                        <m:sub>
                          <m:r>
                            <a:rPr lang="it-IT" sz="1200" b="0" i="1" noProof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𝛽</m:t>
                          </m:r>
                        </m:sub>
                      </m:sSub>
                      <m:d>
                        <m:dPr>
                          <m:ctrlPr>
                            <a:rPr lang="it-IT" sz="1200" i="1" noProof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it-IT" sz="1200" i="1" noProof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𝑠</m:t>
                          </m:r>
                        </m:e>
                      </m:d>
                      <m:r>
                        <a:rPr lang="it-IT" sz="1200" i="1" noProof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  <m:d>
                        <m:dPr>
                          <m:begChr m:val="["/>
                          <m:endChr m:val="]"/>
                          <m:ctrlPr>
                            <a:rPr lang="it-IT" sz="1200" b="0" i="1" noProof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it-IT" sz="1200" b="0" i="1" noProof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it-IT" sz="1200" b="0" i="1" noProof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𝐿</m:t>
                              </m:r>
                            </m:e>
                            <m:sub>
                              <m:r>
                                <a:rPr lang="it-IT" sz="1200" b="0" i="1" noProof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𝛽</m:t>
                              </m:r>
                            </m:sub>
                          </m:sSub>
                          <m:d>
                            <m:dPr>
                              <m:ctrlPr>
                                <a:rPr lang="it-IT" sz="1200" b="0" i="1" noProof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it-IT" sz="1200" b="0" i="1" noProof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𝑠</m:t>
                              </m:r>
                            </m:e>
                          </m:d>
                          <m:r>
                            <a:rPr lang="it-IT" sz="1200" b="0" i="1" noProof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sSub>
                            <m:sSubPr>
                              <m:ctrlPr>
                                <a:rPr lang="it-IT" sz="1200" b="0" i="1" noProof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it-IT" sz="1200" b="0" i="1" noProof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𝑈</m:t>
                              </m:r>
                            </m:e>
                            <m:sub>
                              <m:r>
                                <a:rPr lang="it-IT" sz="1200" i="1" noProof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𝛽</m:t>
                              </m:r>
                            </m:sub>
                          </m:sSub>
                          <m:d>
                            <m:dPr>
                              <m:ctrlPr>
                                <a:rPr lang="it-IT" sz="1200" i="1" noProof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it-IT" sz="1200" i="1" noProof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𝑠</m:t>
                              </m:r>
                            </m:e>
                          </m:d>
                        </m:e>
                      </m:d>
                    </m:oMath>
                  </m:oMathPara>
                </a14:m>
                <a:endParaRPr lang="it-IT" sz="1200" b="0" i="1" noProof="1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 marL="86916">
                  <a:spcAft>
                    <a:spcPts val="6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it-IT" sz="1200" b="0" i="1" noProof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ℙ</m:t>
                      </m:r>
                      <m:d>
                        <m:dPr>
                          <m:ctrlPr>
                            <a:rPr lang="it-IT" sz="1200" b="0" i="1" noProof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it-IT" sz="1200" i="1" noProof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it-IT" sz="1200" i="1" noProof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𝐿</m:t>
                              </m:r>
                            </m:e>
                            <m:sub>
                              <m:r>
                                <a:rPr lang="it-IT" sz="1200" i="1" noProof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𝛽</m:t>
                              </m:r>
                            </m:sub>
                          </m:sSub>
                          <m:d>
                            <m:dPr>
                              <m:ctrlPr>
                                <a:rPr lang="it-IT" sz="1200" i="1" noProof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it-IT" sz="1200" i="1" noProof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𝑠</m:t>
                              </m:r>
                            </m:e>
                          </m:d>
                          <m:r>
                            <a:rPr lang="it-IT" sz="1200" b="0" i="1" noProof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≤</m:t>
                          </m:r>
                          <m:r>
                            <a:rPr lang="it-IT" sz="1200" b="0" i="1" noProof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𝑋</m:t>
                          </m:r>
                          <m:r>
                            <a:rPr lang="it-IT" sz="1200" b="0" i="1" noProof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≤</m:t>
                          </m:r>
                          <m:sSub>
                            <m:sSubPr>
                              <m:ctrlPr>
                                <a:rPr lang="it-IT" sz="1200" i="1" noProof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it-IT" sz="1200" i="1" noProof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𝑈</m:t>
                              </m:r>
                            </m:e>
                            <m:sub>
                              <m:r>
                                <a:rPr lang="it-IT" sz="1200" i="1" noProof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𝛽</m:t>
                              </m:r>
                            </m:sub>
                          </m:sSub>
                          <m:d>
                            <m:dPr>
                              <m:ctrlPr>
                                <a:rPr lang="it-IT" sz="1200" i="1" noProof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it-IT" sz="1200" i="1" noProof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𝑠</m:t>
                              </m:r>
                            </m:e>
                          </m:d>
                        </m:e>
                      </m:d>
                      <m:r>
                        <a:rPr lang="it-IT" sz="1200" b="0" i="1" noProof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≥</m:t>
                      </m:r>
                      <m:r>
                        <a:rPr lang="it-IT" sz="1200" b="0" i="1" noProof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𝛽</m:t>
                      </m:r>
                      <m:r>
                        <a:rPr lang="it-IT" sz="1200" b="0" i="1" noProof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,  </m:t>
                      </m:r>
                      <m:r>
                        <a:rPr lang="it-IT" sz="1200" b="0" i="1" noProof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𝑋</m:t>
                      </m:r>
                      <m:r>
                        <a:rPr lang="it-IT" sz="1200" b="0" i="1" noProof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∼</m:t>
                      </m:r>
                      <m:r>
                        <a:rPr lang="it-IT" sz="1200" b="0" i="1" noProof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𝐷𝑇</m:t>
                      </m:r>
                      <m:d>
                        <m:dPr>
                          <m:ctrlPr>
                            <a:rPr lang="it-IT" sz="1200" b="0" i="1" noProof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it-IT" sz="1200" b="0" i="1" noProof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𝑠</m:t>
                          </m:r>
                        </m:e>
                      </m:d>
                    </m:oMath>
                  </m:oMathPara>
                </a14:m>
                <a:endParaRPr lang="it-IT" sz="1200" b="0" i="1" noProof="1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12" name="Google Shape;703;p114">
                <a:extLst>
                  <a:ext uri="{FF2B5EF4-FFF2-40B4-BE49-F238E27FC236}">
                    <a16:creationId xmlns:a16="http://schemas.microsoft.com/office/drawing/2014/main" id="{BC560D40-91EB-9882-C2E4-FD172E49DFB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>
                <p:custDataLst>
                  <p:tags r:id="rId16"/>
                </p:custDataLst>
              </p:nvPr>
            </p:nvSpPr>
            <p:spPr>
              <a:xfrm>
                <a:off x="342899" y="3077876"/>
                <a:ext cx="5363936" cy="1790148"/>
              </a:xfrm>
              <a:prstGeom prst="rect">
                <a:avLst/>
              </a:prstGeom>
              <a:blipFill>
                <a:blip r:embed="rId17"/>
                <a:stretch>
                  <a:fillRect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" name="Google Shape;703;p114">
            <a:extLst>
              <a:ext uri="{FF2B5EF4-FFF2-40B4-BE49-F238E27FC236}">
                <a16:creationId xmlns:a16="http://schemas.microsoft.com/office/drawing/2014/main" id="{ED2A0887-9644-58BE-1EFB-F21F50617890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6181231" y="999692"/>
            <a:ext cx="2617488" cy="16353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80" tIns="68580" rIns="68580" bIns="0" anchor="t" anchorCtr="0"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solidFill>
                  <a:srgbClr val="125E4B"/>
                </a:solidFill>
              </a:rPr>
              <a:t>Dispatch process</a:t>
            </a:r>
            <a:r>
              <a:rPr lang="en-US" sz="1200" dirty="0">
                <a:solidFill>
                  <a:srgbClr val="125E4B"/>
                </a:solidFill>
              </a:rPr>
              <a:t>: from order placement to shipment start.</a:t>
            </a:r>
          </a:p>
          <a:p>
            <a:r>
              <a:rPr lang="en-US" sz="1200" b="1" dirty="0">
                <a:solidFill>
                  <a:srgbClr val="125E4B"/>
                </a:solidFill>
              </a:rPr>
              <a:t>Shipment process</a:t>
            </a:r>
            <a:r>
              <a:rPr lang="en-US" sz="1200" dirty="0">
                <a:solidFill>
                  <a:srgbClr val="125E4B"/>
                </a:solidFill>
              </a:rPr>
              <a:t>: from shipment start to delivery.</a:t>
            </a:r>
          </a:p>
          <a:p>
            <a:r>
              <a:rPr lang="en-US" sz="1200" b="1" dirty="0">
                <a:solidFill>
                  <a:srgbClr val="125E4B"/>
                </a:solidFill>
              </a:rPr>
              <a:t>Delivery process</a:t>
            </a:r>
            <a:r>
              <a:rPr lang="en-US" sz="1200" dirty="0">
                <a:solidFill>
                  <a:srgbClr val="125E4B"/>
                </a:solidFill>
              </a:rPr>
              <a:t>: combination of dispatch and shipment processes.</a:t>
            </a:r>
            <a:endParaRPr lang="en-US" sz="1200" noProof="1">
              <a:solidFill>
                <a:srgbClr val="125E4B"/>
              </a:solidFill>
            </a:endParaRPr>
          </a:p>
        </p:txBody>
      </p:sp>
      <p:sp>
        <p:nvSpPr>
          <p:cNvPr id="18" name="Google Shape;10527;p9415">
            <a:extLst>
              <a:ext uri="{FF2B5EF4-FFF2-40B4-BE49-F238E27FC236}">
                <a16:creationId xmlns:a16="http://schemas.microsoft.com/office/drawing/2014/main" id="{81D52D0B-6F04-4A96-3458-05657D77685A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342899" y="985595"/>
            <a:ext cx="5298620" cy="30028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68580" tIns="34290" rIns="68580" bIns="34290" anchor="ctr" anchorCtr="0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ts val="1100"/>
            </a:pPr>
            <a:r>
              <a:rPr lang="en-US" sz="1400" noProof="1">
                <a:solidFill>
                  <a:schemeClr val="bg1"/>
                </a:solidFill>
                <a:latin typeface="+mj-lt"/>
              </a:rPr>
              <a:t>Time Probability Distribution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85818B4-A198-0F6C-9DF1-EFD73D2AF65C}"/>
              </a:ext>
            </a:extLst>
          </p:cNvPr>
          <p:cNvSpPr txBox="1"/>
          <p:nvPr/>
        </p:nvSpPr>
        <p:spPr>
          <a:xfrm>
            <a:off x="6181231" y="2635061"/>
            <a:ext cx="2772269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noProof="1">
                <a:solidFill>
                  <a:srgbClr val="125E4B"/>
                </a:solidFill>
                <a:latin typeface="+mn-lt"/>
                <a:cs typeface="Arial" panose="020B0604020202020204" pitchFamily="34" charset="0"/>
              </a:rPr>
              <a:t>Historical</a:t>
            </a:r>
            <a:r>
              <a:rPr lang="en-US" noProof="1">
                <a:solidFill>
                  <a:srgbClr val="125E4B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en-US" b="1" noProof="1">
                <a:solidFill>
                  <a:srgbClr val="125E4B"/>
                </a:solidFill>
                <a:latin typeface="+mn-lt"/>
                <a:cs typeface="Arial" panose="020B0604020202020204" pitchFamily="34" charset="0"/>
              </a:rPr>
              <a:t>indicators</a:t>
            </a:r>
            <a:r>
              <a:rPr lang="en-US" noProof="1">
                <a:solidFill>
                  <a:srgbClr val="125E4B"/>
                </a:solidFill>
                <a:latin typeface="+mn-lt"/>
                <a:cs typeface="Arial" panose="020B0604020202020204" pitchFamily="34" charset="0"/>
              </a:rPr>
              <a:t> are stastistical measures that characterize key </a:t>
            </a:r>
            <a:r>
              <a:rPr lang="en-US" b="1" noProof="1">
                <a:solidFill>
                  <a:srgbClr val="125E4B"/>
                </a:solidFill>
                <a:latin typeface="+mn-lt"/>
                <a:cs typeface="Arial" panose="020B0604020202020204" pitchFamily="34" charset="0"/>
              </a:rPr>
              <a:t>operational</a:t>
            </a:r>
            <a:r>
              <a:rPr lang="en-US" noProof="1">
                <a:solidFill>
                  <a:srgbClr val="125E4B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en-US" b="1" noProof="1">
                <a:solidFill>
                  <a:srgbClr val="125E4B"/>
                </a:solidFill>
                <a:latin typeface="+mn-lt"/>
                <a:cs typeface="Arial" panose="020B0604020202020204" pitchFamily="34" charset="0"/>
              </a:rPr>
              <a:t>times</a:t>
            </a:r>
            <a:r>
              <a:rPr lang="en-US" noProof="1">
                <a:solidFill>
                  <a:srgbClr val="125E4B"/>
                </a:solidFill>
                <a:latin typeface="+mn-lt"/>
                <a:cs typeface="Arial" panose="020B0604020202020204" pitchFamily="34" charset="0"/>
              </a:rPr>
              <a:t> in the order fulfillment process, based exclusively on </a:t>
            </a:r>
            <a:r>
              <a:rPr lang="en-US" b="1" noProof="1">
                <a:solidFill>
                  <a:srgbClr val="125E4B"/>
                </a:solidFill>
                <a:latin typeface="+mn-lt"/>
                <a:cs typeface="Arial" panose="020B0604020202020204" pitchFamily="34" charset="0"/>
              </a:rPr>
              <a:t>historical</a:t>
            </a:r>
            <a:r>
              <a:rPr lang="en-US" noProof="1">
                <a:solidFill>
                  <a:srgbClr val="125E4B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en-US" b="1" noProof="1">
                <a:solidFill>
                  <a:srgbClr val="125E4B"/>
                </a:solidFill>
                <a:latin typeface="+mn-lt"/>
                <a:cs typeface="Arial" panose="020B0604020202020204" pitchFamily="34" charset="0"/>
              </a:rPr>
              <a:t>data</a:t>
            </a:r>
            <a:r>
              <a:rPr lang="en-US" noProof="1">
                <a:solidFill>
                  <a:srgbClr val="125E4B"/>
                </a:solidFill>
                <a:latin typeface="+mn-lt"/>
                <a:cs typeface="Arial" panose="020B0604020202020204" pitchFamily="34" charset="0"/>
              </a:rPr>
              <a:t>.</a:t>
            </a:r>
          </a:p>
          <a:p>
            <a:endParaRPr lang="en-US" dirty="0"/>
          </a:p>
        </p:txBody>
      </p:sp>
      <p:sp>
        <p:nvSpPr>
          <p:cNvPr id="5" name="Google Shape;10527;p9415">
            <a:extLst>
              <a:ext uri="{FF2B5EF4-FFF2-40B4-BE49-F238E27FC236}">
                <a16:creationId xmlns:a16="http://schemas.microsoft.com/office/drawing/2014/main" id="{460C3337-6F77-C401-C7A6-62378EC1D104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342899" y="2777595"/>
            <a:ext cx="5298620" cy="30028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68580" tIns="34290" rIns="68580" bIns="34290" anchor="ctr" anchorCtr="0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ts val="1100"/>
            </a:pPr>
            <a:r>
              <a:rPr lang="en-US" sz="1400" noProof="1">
                <a:solidFill>
                  <a:schemeClr val="bg1"/>
                </a:solidFill>
                <a:latin typeface="+mj-lt"/>
              </a:rPr>
              <a:t>Statistical Metric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2569986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AF93AA0-38A0-70CC-D1AF-1A97C0F3BC4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6C599331-C01F-DBB0-C92D-E2B90B93BB1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1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7772400" imgH="10058400" progId="TCLayout.ActiveDocument.1">
                  <p:embed/>
                </p:oleObj>
              </mc:Choice>
              <mc:Fallback>
                <p:oleObj name="think-cell Slide" r:id="rId10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599331-C01F-DBB0-C92D-E2B90B93BB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2" y="1191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EA6CF387-DC16-1CF2-5ADF-D898271AFBD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 vert="horz" lIns="0" tIns="34290" rIns="0" bIns="3429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noProof="1"/>
              <a:t>Historical Indicators Implementation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671C4AEE-3D21-E7E7-8CC7-86E86AD2CA30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342900" y="255537"/>
            <a:ext cx="8455819" cy="155515"/>
          </a:xfrm>
          <a:prstGeom prst="rect">
            <a:avLst/>
          </a:prstGeom>
        </p:spPr>
        <p:txBody>
          <a:bodyPr vert="horz" lIns="0" tIns="0" rIns="68580" bIns="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000" cap="all" noProof="1">
                <a:solidFill>
                  <a:schemeClr val="accent1"/>
                </a:solidFill>
                <a:latin typeface="Aptos" panose="020B0004020202020204" pitchFamily="34" charset="0"/>
              </a:rPr>
              <a:t>HISTORICAL INDICATORS</a:t>
            </a:r>
          </a:p>
        </p:txBody>
      </p:sp>
      <p:sp>
        <p:nvSpPr>
          <p:cNvPr id="19" name="Google Shape;703;p114">
            <a:extLst>
              <a:ext uri="{FF2B5EF4-FFF2-40B4-BE49-F238E27FC236}">
                <a16:creationId xmlns:a16="http://schemas.microsoft.com/office/drawing/2014/main" id="{FEF75950-A634-3B8C-6DA8-61B651DBBF76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42900" y="1285876"/>
            <a:ext cx="3886199" cy="12164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80" tIns="68580" rIns="68580" bIns="0" anchor="t" anchorCtr="0"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  <a:buClrTx/>
            </a:pPr>
            <a:r>
              <a:rPr lang="en-US" sz="1200" b="1" dirty="0"/>
              <a:t>Gamma distributions</a:t>
            </a:r>
            <a:r>
              <a:rPr lang="en-US" sz="1200" dirty="0"/>
              <a:t> chosen for their established use in supply-chain literature.</a:t>
            </a:r>
            <a:endParaRPr lang="en-US" sz="1200" noProof="1"/>
          </a:p>
          <a:p>
            <a:pPr>
              <a:spcAft>
                <a:spcPts val="600"/>
              </a:spcAft>
              <a:buClrTx/>
            </a:pPr>
            <a:r>
              <a:rPr lang="en-US" sz="1200" b="1" dirty="0"/>
              <a:t>Parameter estimation </a:t>
            </a:r>
            <a:r>
              <a:rPr lang="en-US" sz="1200" dirty="0"/>
              <a:t>via </a:t>
            </a:r>
            <a:r>
              <a:rPr lang="en-US" sz="1200" b="1" dirty="0"/>
              <a:t>Maximum Likelihood Estimation</a:t>
            </a:r>
            <a:r>
              <a:rPr lang="en-US" sz="1200" dirty="0"/>
              <a:t>.</a:t>
            </a:r>
          </a:p>
          <a:p>
            <a:pPr>
              <a:spcAft>
                <a:spcPts val="600"/>
              </a:spcAft>
              <a:buClrTx/>
            </a:pPr>
            <a:r>
              <a:rPr lang="en-US" sz="1200" b="1" dirty="0"/>
              <a:t>Data threshold:</a:t>
            </a:r>
            <a:r>
              <a:rPr lang="en-US" sz="1200" dirty="0"/>
              <a:t> Samples with ≥30 observations.</a:t>
            </a:r>
            <a:endParaRPr lang="en-US" sz="1200" noProof="1"/>
          </a:p>
        </p:txBody>
      </p:sp>
      <p:sp>
        <p:nvSpPr>
          <p:cNvPr id="21" name="Google Shape;703;p114">
            <a:extLst>
              <a:ext uri="{FF2B5EF4-FFF2-40B4-BE49-F238E27FC236}">
                <a16:creationId xmlns:a16="http://schemas.microsoft.com/office/drawing/2014/main" id="{BC1E4DCA-D5CD-451D-B8BB-A6F5B74B9410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4837345" y="1285875"/>
            <a:ext cx="3886199" cy="12164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80" tIns="68580" rIns="68580" bIns="0" anchor="t" anchorCtr="0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  <a:buClrTx/>
            </a:pPr>
            <a:r>
              <a:rPr lang="en-US" sz="1200" b="1" dirty="0"/>
              <a:t>Outlier removal:</a:t>
            </a:r>
            <a:r>
              <a:rPr lang="en-US" sz="1200" dirty="0"/>
              <a:t> Interquartile Range (IQR) method.</a:t>
            </a:r>
            <a:r>
              <a:rPr lang="en-US" sz="1200" noProof="1"/>
              <a:t>
</a:t>
            </a:r>
            <a:r>
              <a:rPr lang="en-US" sz="1200" b="1" dirty="0"/>
              <a:t>Goodness-of-fit checks:</a:t>
            </a:r>
            <a:r>
              <a:rPr lang="en-US" sz="1200" dirty="0"/>
              <a:t> Q–Q plots and histograms.</a:t>
            </a:r>
            <a:r>
              <a:rPr lang="en-US" sz="1200" noProof="1"/>
              <a:t>
</a:t>
            </a:r>
            <a:r>
              <a:rPr lang="en-US" sz="1200" b="1" dirty="0"/>
              <a:t>Statistical validation:</a:t>
            </a:r>
            <a:r>
              <a:rPr lang="en-US" sz="1200" dirty="0"/>
              <a:t> Bootstrap Kolmogorov–Smirnov tests show no evidence against the Gamma assumption.</a:t>
            </a:r>
          </a:p>
          <a:p>
            <a:pPr>
              <a:spcAft>
                <a:spcPts val="600"/>
              </a:spcAft>
              <a:buClrTx/>
            </a:pPr>
            <a:endParaRPr lang="en-US" sz="1200" noProof="1"/>
          </a:p>
        </p:txBody>
      </p:sp>
      <p:sp>
        <p:nvSpPr>
          <p:cNvPr id="2" name="Google Shape;10527;p9415">
            <a:extLst>
              <a:ext uri="{FF2B5EF4-FFF2-40B4-BE49-F238E27FC236}">
                <a16:creationId xmlns:a16="http://schemas.microsoft.com/office/drawing/2014/main" id="{C35F7356-7D6A-5003-265D-A8669E39040E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342898" y="997840"/>
            <a:ext cx="3886201" cy="28803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68580" tIns="34290" rIns="68580" bIns="34290" anchor="ctr" anchorCtr="0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ts val="1100"/>
            </a:pPr>
            <a:r>
              <a:rPr lang="en-US" sz="1400" noProof="1">
                <a:solidFill>
                  <a:schemeClr val="bg1"/>
                </a:solidFill>
                <a:latin typeface="+mj-lt"/>
              </a:rPr>
              <a:t>Theoretical Distribution</a:t>
            </a:r>
          </a:p>
        </p:txBody>
      </p:sp>
      <p:sp>
        <p:nvSpPr>
          <p:cNvPr id="4" name="Google Shape;10527;p9415">
            <a:extLst>
              <a:ext uri="{FF2B5EF4-FFF2-40B4-BE49-F238E27FC236}">
                <a16:creationId xmlns:a16="http://schemas.microsoft.com/office/drawing/2014/main" id="{1EDCE899-1272-FC4C-F46D-5E0CC8B63164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4837346" y="1001016"/>
            <a:ext cx="3886200" cy="28803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68580" tIns="34290" rIns="68580" bIns="34290" anchor="ctr" anchorCtr="0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ts val="1100"/>
            </a:pPr>
            <a:r>
              <a:rPr lang="en-US" sz="1400" noProof="1">
                <a:solidFill>
                  <a:schemeClr val="bg1"/>
                </a:solidFill>
                <a:latin typeface="+mj-lt"/>
              </a:rPr>
              <a:t>Fitting Procedur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860F135-5972-EFA8-9BE2-10616243A8AD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42898" y="2571749"/>
            <a:ext cx="3963758" cy="198501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E8F12FB5-B31B-A510-EB03-4AF10BAF1734}"/>
              </a:ext>
            </a:extLst>
          </p:cNvPr>
          <p:cNvPicPr>
            <a:picLocks noChangeAspect="1"/>
          </p:cNvPicPr>
          <p:nvPr/>
        </p:nvPicPr>
        <p:blipFill>
          <a:blip r:embed="rId13"/>
          <a:srcRect/>
          <a:stretch/>
        </p:blipFill>
        <p:spPr>
          <a:xfrm>
            <a:off x="4759786" y="2730085"/>
            <a:ext cx="3963758" cy="166834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12746228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3E55EF6-5A56-A66B-E0DF-D7C20174BF7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488D9A1A-A82A-E598-9679-A1864849CB2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1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8D9A1A-A82A-E598-9679-A1864849CB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191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212316B8-EEE8-7FCD-F819-DDD74C3422AD}"/>
              </a:ext>
            </a:extLst>
          </p:cNvPr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342900" y="792834"/>
            <a:ext cx="8455914" cy="3930557"/>
          </a:xfrm>
        </p:spPr>
        <p:txBody>
          <a:bodyPr numCol="2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72666" indent="-285750">
              <a:buClr>
                <a:schemeClr val="accent1"/>
              </a:buClr>
            </a:pPr>
            <a:r>
              <a:rPr lang="en-US" sz="1400" b="1" noProof="1"/>
              <a:t>M4ESTRO Project Overview</a:t>
            </a:r>
          </a:p>
          <a:p>
            <a:pPr marL="604838" lvl="1" indent="-175022">
              <a:buClr>
                <a:schemeClr val="accent1"/>
              </a:buClr>
            </a:pPr>
            <a:r>
              <a:rPr lang="en-US" sz="1300" noProof="1"/>
              <a:t>Background &amp; Context</a:t>
            </a:r>
          </a:p>
          <a:p>
            <a:pPr marL="604838" lvl="1" indent="-175022">
              <a:buClr>
                <a:schemeClr val="accent1"/>
              </a:buClr>
            </a:pPr>
            <a:r>
              <a:rPr lang="en-US" sz="1300" noProof="1"/>
              <a:t>Motivation &amp; Purpose
Key Contributions</a:t>
            </a:r>
          </a:p>
          <a:p>
            <a:pPr marL="261938" indent="-175022">
              <a:buClr>
                <a:schemeClr val="accent1"/>
              </a:buClr>
            </a:pPr>
            <a:r>
              <a:rPr lang="en-US" sz="1400" b="1" noProof="1"/>
              <a:t>Dataset &amp; External Sources</a:t>
            </a:r>
          </a:p>
          <a:p>
            <a:pPr marL="604838" lvl="1" indent="-175022">
              <a:buClr>
                <a:schemeClr val="accent1"/>
              </a:buClr>
            </a:pPr>
            <a:r>
              <a:rPr lang="en-US" sz="1300" noProof="1"/>
              <a:t>Pilot and Tracking data</a:t>
            </a:r>
          </a:p>
          <a:p>
            <a:pPr marL="604838" lvl="1" indent="-175022">
              <a:buClr>
                <a:schemeClr val="accent1"/>
              </a:buClr>
            </a:pPr>
            <a:r>
              <a:rPr lang="en-US" sz="1300" noProof="1"/>
              <a:t>Traffic, Weather and Holiday data</a:t>
            </a:r>
          </a:p>
          <a:p>
            <a:pPr marL="261938" indent="-175022">
              <a:buClr>
                <a:schemeClr val="accent1"/>
              </a:buClr>
            </a:pPr>
            <a:r>
              <a:rPr lang="en-US" sz="1400" b="1" noProof="1"/>
              <a:t>Supply Chain Modeling</a:t>
            </a:r>
          </a:p>
          <a:p>
            <a:pPr marL="604838" lvl="1" indent="-175022">
              <a:buClr>
                <a:schemeClr val="accent1"/>
              </a:buClr>
            </a:pPr>
            <a:r>
              <a:rPr lang="en-US" sz="1300" noProof="1"/>
              <a:t>Supply Chain Graph Model</a:t>
            </a:r>
          </a:p>
          <a:p>
            <a:pPr marL="604838" lvl="1" indent="-175022">
              <a:buClr>
                <a:schemeClr val="accent1"/>
              </a:buClr>
            </a:pPr>
            <a:r>
              <a:rPr lang="en-US" sz="1300" noProof="1"/>
              <a:t>Markov Chain Routing Model</a:t>
            </a:r>
          </a:p>
          <a:p>
            <a:pPr marL="604838" lvl="1" indent="-175022">
              <a:buClr>
                <a:schemeClr val="accent1"/>
              </a:buClr>
            </a:pPr>
            <a:r>
              <a:rPr lang="en-US" sz="1300" noProof="1"/>
              <a:t>Paths Extraction and Probability Distributions</a:t>
            </a:r>
            <a:endParaRPr lang="en-US" noProof="1"/>
          </a:p>
          <a:p>
            <a:pPr marL="261938" indent="-175022">
              <a:buClr>
                <a:schemeClr val="accent1"/>
              </a:buClr>
            </a:pPr>
            <a:r>
              <a:rPr lang="en-US" sz="1400" b="1" noProof="1"/>
              <a:t>Historical Indicators</a:t>
            </a:r>
          </a:p>
          <a:p>
            <a:pPr marL="604838" lvl="1" indent="-175022">
              <a:buClr>
                <a:schemeClr val="accent1"/>
              </a:buClr>
            </a:pPr>
            <a:r>
              <a:rPr lang="en-US" sz="1400" noProof="1"/>
              <a:t>Definition</a:t>
            </a:r>
          </a:p>
          <a:p>
            <a:pPr marL="604838" lvl="1" indent="-175022">
              <a:buClr>
                <a:schemeClr val="accent1"/>
              </a:buClr>
            </a:pPr>
            <a:r>
              <a:rPr lang="en-US" sz="1400" noProof="1"/>
              <a:t>Implementation</a:t>
            </a:r>
          </a:p>
          <a:p>
            <a:pPr marL="261938" indent="-175022">
              <a:buClr>
                <a:schemeClr val="accent1"/>
              </a:buClr>
            </a:pPr>
            <a:r>
              <a:rPr lang="en-US" sz="1400" b="1" noProof="1"/>
              <a:t>Realtime Indicators</a:t>
            </a:r>
          </a:p>
          <a:p>
            <a:pPr marL="604838" lvl="1" indent="-175022">
              <a:buClr>
                <a:schemeClr val="accent1"/>
              </a:buClr>
            </a:pPr>
            <a:r>
              <a:rPr lang="en-US" sz="1400" noProof="1"/>
              <a:t>Overview</a:t>
            </a:r>
          </a:p>
          <a:p>
            <a:pPr marL="604838" lvl="1" indent="-175022">
              <a:buClr>
                <a:schemeClr val="accent1"/>
              </a:buClr>
            </a:pPr>
            <a:r>
              <a:rPr lang="en-US" sz="1400" noProof="1"/>
              <a:t>Definition</a:t>
            </a:r>
          </a:p>
          <a:p>
            <a:pPr marL="604838" lvl="1" indent="-175022">
              <a:buClr>
                <a:schemeClr val="accent1"/>
              </a:buClr>
            </a:pPr>
            <a:r>
              <a:rPr lang="en-US" sz="1400" noProof="1"/>
              <a:t>Implementation</a:t>
            </a:r>
          </a:p>
          <a:p>
            <a:pPr marL="261938" indent="-175022">
              <a:buClr>
                <a:schemeClr val="accent1"/>
              </a:buClr>
            </a:pPr>
            <a:r>
              <a:rPr lang="en-US" sz="1400" b="1" noProof="1"/>
              <a:t>Protoype &amp; Results</a:t>
            </a:r>
          </a:p>
          <a:p>
            <a:pPr marL="604838" lvl="1" indent="-175022">
              <a:buClr>
                <a:schemeClr val="accent1"/>
              </a:buClr>
            </a:pPr>
            <a:r>
              <a:rPr lang="en-US" sz="1400" noProof="1"/>
              <a:t>Prototype Architecture</a:t>
            </a:r>
          </a:p>
          <a:p>
            <a:pPr marL="604838" lvl="1" indent="-175022">
              <a:buClr>
                <a:schemeClr val="accent1"/>
              </a:buClr>
            </a:pPr>
            <a:r>
              <a:rPr lang="en-US" sz="1400" noProof="1"/>
              <a:t>Evaluation Methodology</a:t>
            </a:r>
          </a:p>
          <a:p>
            <a:pPr marL="604838" lvl="1" indent="-175022">
              <a:buClr>
                <a:schemeClr val="accent1"/>
              </a:buClr>
            </a:pPr>
            <a:r>
              <a:rPr lang="en-US" sz="1400" noProof="1"/>
              <a:t>Quantitative Evaluation </a:t>
            </a:r>
          </a:p>
          <a:p>
            <a:pPr marL="604838" lvl="1" indent="-175022">
              <a:buClr>
                <a:schemeClr val="accent1"/>
              </a:buClr>
            </a:pPr>
            <a:r>
              <a:rPr lang="en-US" sz="1400" noProof="1"/>
              <a:t>Sensitivity Analysis</a:t>
            </a:r>
          </a:p>
          <a:p>
            <a:pPr marL="604838" lvl="1" indent="-175022">
              <a:buClr>
                <a:schemeClr val="accent1"/>
              </a:buClr>
            </a:pPr>
            <a:r>
              <a:rPr lang="en-US" sz="1400" noProof="1"/>
              <a:t>Evolution of Shipment Estimates</a:t>
            </a:r>
            <a:endParaRPr lang="en-US" sz="1400" b="1" noProof="1"/>
          </a:p>
          <a:p>
            <a:pPr marL="261938" indent="-175022">
              <a:buClr>
                <a:schemeClr val="accent1"/>
              </a:buClr>
            </a:pPr>
            <a:r>
              <a:rPr lang="en-US" sz="1400" b="1" noProof="1"/>
              <a:t>Conclusion</a:t>
            </a:r>
          </a:p>
          <a:p>
            <a:pPr marL="604838" lvl="1" indent="-175022">
              <a:buClr>
                <a:schemeClr val="accent1"/>
              </a:buClr>
            </a:pPr>
            <a:r>
              <a:rPr lang="en-US" sz="1400" noProof="1"/>
              <a:t>Key Findings</a:t>
            </a:r>
          </a:p>
          <a:p>
            <a:pPr marL="604838" lvl="1" indent="-175022">
              <a:buClr>
                <a:schemeClr val="accent1"/>
              </a:buClr>
            </a:pPr>
            <a:r>
              <a:rPr lang="en-US" sz="1400" noProof="1"/>
              <a:t>Future Development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B0F2B1D-3814-7AED-D61A-4EF6159C272A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342900" y="325612"/>
            <a:ext cx="8455914" cy="370332"/>
          </a:xfrm>
        </p:spPr>
        <p:txBody>
          <a:bodyPr vert="horz" lIns="0" rIns="0" bIns="34290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noProof="1">
                <a:solidFill>
                  <a:schemeClr val="accent1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29658424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6A25727A-9A18-8DC1-0E1B-363E6CD839F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1" name="Rectangle 10">
            <a:extLst>
              <a:ext uri="{FF2B5EF4-FFF2-40B4-BE49-F238E27FC236}">
                <a16:creationId xmlns:a16="http://schemas.microsoft.com/office/drawing/2014/main" id="{55EBE351-F469-37C1-EC78-05F7E23C3A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144000" cy="51435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3E3FAD3-3D27-5CAD-6C15-C7284CF2D7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-320"/>
            <a:ext cx="9144000" cy="5143499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15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53F1D2D-2FCE-8D65-49CE-7B7C3CF366B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341640" y="-1290"/>
            <a:ext cx="8812530" cy="5130513"/>
          </a:xfrm>
          <a:prstGeom prst="rect">
            <a:avLst/>
          </a:prstGeom>
          <a:gradFill>
            <a:gsLst>
              <a:gs pos="21000">
                <a:schemeClr val="accent1">
                  <a:lumMod val="50000"/>
                  <a:alpha val="61000"/>
                </a:schemeClr>
              </a:gs>
              <a:gs pos="100000">
                <a:schemeClr val="accent1">
                  <a:alpha val="0"/>
                </a:schemeClr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DBC64A7-7F09-1620-DCC1-575FBF8B303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454540" y="-968"/>
            <a:ext cx="2706134" cy="5144147"/>
          </a:xfrm>
          <a:prstGeom prst="rect">
            <a:avLst/>
          </a:prstGeom>
          <a:gradFill>
            <a:gsLst>
              <a:gs pos="0">
                <a:schemeClr val="accent1">
                  <a:lumMod val="75000"/>
                  <a:alpha val="0"/>
                </a:schemeClr>
              </a:gs>
              <a:gs pos="99000">
                <a:srgbClr val="000000">
                  <a:alpha val="41000"/>
                </a:srgb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96143B65-BB67-64BE-B7D9-FC148356F7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5274173">
            <a:off x="4544796" y="584453"/>
            <a:ext cx="3725650" cy="3741293"/>
          </a:xfrm>
          <a:prstGeom prst="ellipse">
            <a:avLst/>
          </a:prstGeom>
          <a:gradFill>
            <a:gsLst>
              <a:gs pos="0">
                <a:schemeClr val="accent1">
                  <a:alpha val="24000"/>
                </a:schemeClr>
              </a:gs>
              <a:gs pos="79000">
                <a:schemeClr val="accent1">
                  <a:lumMod val="60000"/>
                  <a:lumOff val="40000"/>
                  <a:alpha val="0"/>
                </a:schemeClr>
              </a:gs>
            </a:gsLst>
            <a:lin ang="14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D7F121C-D9B2-A775-D5C0-7FB3C608BC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02664" y="614238"/>
            <a:ext cx="3984667" cy="2451390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r"/>
            <a:r>
              <a:rPr lang="en-US" sz="3600" dirty="0">
                <a:solidFill>
                  <a:srgbClr val="FFFFFF"/>
                </a:solidFill>
              </a:rPr>
              <a:t>Realtime Indicators</a:t>
            </a:r>
            <a:endParaRPr lang="en-US" sz="3600" kern="1200" dirty="0">
              <a:solidFill>
                <a:srgbClr val="FFFFFF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70BF33E-300D-9E49-9D3B-2D8AD9A13D8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4735" y="3360028"/>
            <a:ext cx="9134528" cy="1783472"/>
          </a:xfrm>
          <a:prstGeom prst="rect">
            <a:avLst/>
          </a:prstGeom>
          <a:gradFill>
            <a:gsLst>
              <a:gs pos="0">
                <a:schemeClr val="accent1">
                  <a:lumMod val="75000"/>
                  <a:alpha val="50000"/>
                </a:schemeClr>
              </a:gs>
              <a:gs pos="99000">
                <a:srgbClr val="000000">
                  <a:alpha val="34000"/>
                </a:srgbClr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D271C8B9-AFCB-5369-9D88-F1991B406CC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 flipH="1">
            <a:off x="5225314" y="1224495"/>
            <a:ext cx="5143179" cy="2694194"/>
          </a:xfrm>
          <a:prstGeom prst="rect">
            <a:avLst/>
          </a:prstGeom>
          <a:gradFill>
            <a:gsLst>
              <a:gs pos="0">
                <a:schemeClr val="accent1">
                  <a:lumMod val="75000"/>
                  <a:alpha val="50000"/>
                </a:schemeClr>
              </a:gs>
              <a:gs pos="99000">
                <a:srgbClr val="000000">
                  <a:alpha val="0"/>
                </a:srgbClr>
              </a:gs>
            </a:gsLst>
            <a:lin ang="15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329992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A5E4E04-938E-AFC5-7E43-D18639A4EC1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EB6476CD-DBFC-4915-5F6D-A1E906D4E78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1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7772400" imgH="10058400" progId="TCLayout.ActiveDocument.1">
                  <p:embed/>
                </p:oleObj>
              </mc:Choice>
              <mc:Fallback>
                <p:oleObj name="think-cell Slide" r:id="rId8" imgW="7772400" imgH="10058400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B6476CD-DBFC-4915-5F6D-A1E906D4E7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92" y="1191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A4013419-C069-D20B-EE9E-88BFDA78072C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342900" y="411480"/>
            <a:ext cx="5629275" cy="588212"/>
          </a:xfrm>
        </p:spPr>
        <p:txBody>
          <a:bodyPr vert="horz" lIns="0" tIns="68580" rIns="0" bIns="34290" rtlCol="0" anchor="t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noProof="1"/>
              <a:t>Realtime Indicators Overview</a:t>
            </a: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FAB9745F-3166-3830-1DB1-E4B35E2CD48A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342900" y="255537"/>
            <a:ext cx="8455819" cy="155515"/>
          </a:xfrm>
          <a:prstGeom prst="rect">
            <a:avLst/>
          </a:prstGeom>
        </p:spPr>
        <p:txBody>
          <a:bodyPr vert="horz" lIns="0" tIns="0" rIns="68580" bIns="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000" cap="all" noProof="1">
                <a:solidFill>
                  <a:schemeClr val="accent1"/>
                </a:solidFill>
                <a:latin typeface="Aptos" panose="020B0004020202020204" pitchFamily="34" charset="0"/>
              </a:rPr>
              <a:t>Realtime Indicators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086C34C7-B53B-C6A3-398D-77B115ED7E32}"/>
              </a:ext>
            </a:extLst>
          </p:cNvPr>
          <p:cNvSpPr>
            <a:spLocks noGrp="1"/>
          </p:cNvSpPr>
          <p:nvPr>
            <p:ph type="body" sz="quarter" idx="15"/>
            <p:custDataLst>
              <p:tags r:id="rId5"/>
            </p:custDataLst>
          </p:nvPr>
        </p:nvSpPr>
        <p:spPr>
          <a:xfrm>
            <a:off x="5915892" y="1"/>
            <a:ext cx="3228108" cy="5143500"/>
          </a:xfrm>
          <a:solidFill>
            <a:schemeClr val="bg2"/>
          </a:solidFill>
        </p:spPr>
        <p:txBody>
          <a:bodyPr lIns="342900" tIns="68580" rIns="274320" bIns="6858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0000"/>
              </a:lnSpc>
              <a:spcBef>
                <a:spcPts val="500"/>
              </a:spcBef>
            </a:pPr>
            <a:r>
              <a:rPr lang="en-US" sz="1400" b="1" dirty="0">
                <a:solidFill>
                  <a:srgbClr val="125E4B"/>
                </a:solidFill>
              </a:rPr>
              <a:t>Realtime indicators</a:t>
            </a:r>
            <a:r>
              <a:rPr lang="en-US" sz="1400" dirty="0">
                <a:solidFill>
                  <a:srgbClr val="125E4B"/>
                </a:solidFill>
              </a:rPr>
              <a:t> are statistical measures that provide actionable insights into the current state of the </a:t>
            </a:r>
            <a:r>
              <a:rPr lang="en-US" sz="1400" b="1" dirty="0">
                <a:solidFill>
                  <a:srgbClr val="125E4B"/>
                </a:solidFill>
              </a:rPr>
              <a:t>supply chain. </a:t>
            </a:r>
          </a:p>
          <a:p>
            <a:pPr>
              <a:lnSpc>
                <a:spcPct val="110000"/>
              </a:lnSpc>
              <a:spcBef>
                <a:spcPts val="500"/>
              </a:spcBef>
            </a:pPr>
            <a:r>
              <a:rPr lang="en-US" sz="1400" dirty="0">
                <a:solidFill>
                  <a:srgbClr val="125E4B"/>
                </a:solidFill>
              </a:rPr>
              <a:t>Organized</a:t>
            </a:r>
            <a:r>
              <a:rPr lang="en-US" sz="1400" b="1" dirty="0">
                <a:solidFill>
                  <a:srgbClr val="125E4B"/>
                </a:solidFill>
              </a:rPr>
              <a:t> hierarchically</a:t>
            </a:r>
            <a:r>
              <a:rPr lang="en-US" sz="1400" dirty="0">
                <a:solidFill>
                  <a:srgbClr val="125E4B"/>
                </a:solidFill>
              </a:rPr>
              <a:t> at different </a:t>
            </a:r>
            <a:r>
              <a:rPr lang="en-US" sz="1400" b="1" dirty="0">
                <a:solidFill>
                  <a:srgbClr val="125E4B"/>
                </a:solidFill>
              </a:rPr>
              <a:t>granularity levels</a:t>
            </a:r>
            <a:r>
              <a:rPr lang="en-US" sz="1400" dirty="0">
                <a:solidFill>
                  <a:srgbClr val="125E4B"/>
                </a:solidFill>
              </a:rPr>
              <a:t>, they combine:</a:t>
            </a:r>
          </a:p>
          <a:p>
            <a:pPr marL="285750" indent="-285750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125E4B"/>
                </a:solidFill>
              </a:rPr>
              <a:t>Historical indicators.</a:t>
            </a:r>
          </a:p>
          <a:p>
            <a:pPr marL="285750" indent="-285750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125E4B"/>
                </a:solidFill>
              </a:rPr>
              <a:t>Supply chain graph.</a:t>
            </a:r>
          </a:p>
          <a:p>
            <a:pPr marL="285750" indent="-285750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125E4B"/>
                </a:solidFill>
              </a:rPr>
              <a:t>Real-time data.</a:t>
            </a:r>
          </a:p>
          <a:p>
            <a:pPr marL="285750" indent="-285750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125E4B"/>
                </a:solidFill>
              </a:rPr>
              <a:t>Realtime indicators from lower levels.</a:t>
            </a:r>
          </a:p>
        </p:txBody>
      </p:sp>
      <p:sp>
        <p:nvSpPr>
          <p:cNvPr id="18" name="Google Shape;10527;p9415">
            <a:extLst>
              <a:ext uri="{FF2B5EF4-FFF2-40B4-BE49-F238E27FC236}">
                <a16:creationId xmlns:a16="http://schemas.microsoft.com/office/drawing/2014/main" id="{661A168F-2573-A9DF-9D09-21833ACCD594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342898" y="997839"/>
            <a:ext cx="5298621" cy="30028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68580" tIns="34290" rIns="68580" bIns="34290" anchor="ctr" anchorCtr="0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ts val="1100"/>
            </a:pPr>
            <a:r>
              <a:rPr lang="en-US" sz="1400" noProof="1">
                <a:solidFill>
                  <a:schemeClr val="bg1"/>
                </a:solidFill>
                <a:latin typeface="+mj-lt"/>
              </a:rPr>
              <a:t>Realtime Indicators Hierarchy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E85360A1-CC52-9DBA-484F-4F1FE0FF9F7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9932200"/>
              </p:ext>
            </p:extLst>
          </p:nvPr>
        </p:nvGraphicFramePr>
        <p:xfrm>
          <a:off x="342898" y="1745933"/>
          <a:ext cx="5298622" cy="1854200"/>
        </p:xfrm>
        <a:graphic>
          <a:graphicData uri="http://schemas.openxmlformats.org/drawingml/2006/table">
            <a:tbl>
              <a:tblPr firstRow="1" bandRow="1">
                <a:tableStyleId>{63B48042-AE31-4177-9097-B33D8566F184}</a:tableStyleId>
              </a:tblPr>
              <a:tblGrid>
                <a:gridCol w="2649311">
                  <a:extLst>
                    <a:ext uri="{9D8B030D-6E8A-4147-A177-3AD203B41FA5}">
                      <a16:colId xmlns:a16="http://schemas.microsoft.com/office/drawing/2014/main" val="2084918660"/>
                    </a:ext>
                  </a:extLst>
                </a:gridCol>
                <a:gridCol w="2649311">
                  <a:extLst>
                    <a:ext uri="{9D8B030D-6E8A-4147-A177-3AD203B41FA5}">
                      <a16:colId xmlns:a16="http://schemas.microsoft.com/office/drawing/2014/main" val="82598804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it-IT" sz="1200" b="1" dirty="0" err="1">
                          <a:latin typeface="+mn-lt"/>
                        </a:rPr>
                        <a:t>Granularity</a:t>
                      </a:r>
                      <a:endParaRPr lang="en-US" sz="1200" b="1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sz="1200" b="1" dirty="0">
                          <a:latin typeface="+mn-lt"/>
                        </a:rPr>
                        <a:t>Scope</a:t>
                      </a:r>
                      <a:endParaRPr lang="en-US" sz="1200" b="1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6274267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it-IT" sz="1200" dirty="0">
                          <a:latin typeface="+mn-lt"/>
                        </a:rPr>
                        <a:t>Vertex</a:t>
                      </a:r>
                      <a:endParaRPr lang="en-US" sz="12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sz="1200" dirty="0">
                          <a:latin typeface="+mn-lt"/>
                        </a:rPr>
                        <a:t>Supplier and carrier facility.</a:t>
                      </a:r>
                      <a:endParaRPr lang="en-US" sz="120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2856864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it-IT" sz="1200" dirty="0" err="1">
                          <a:latin typeface="+mn-lt"/>
                        </a:rPr>
                        <a:t>Route</a:t>
                      </a:r>
                      <a:endParaRPr lang="en-US" sz="12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sz="1200" dirty="0">
                          <a:latin typeface="+mn-lt"/>
                        </a:rPr>
                        <a:t>Carrier </a:t>
                      </a:r>
                      <a:r>
                        <a:rPr lang="it-IT" sz="1200" dirty="0" err="1">
                          <a:latin typeface="+mn-lt"/>
                        </a:rPr>
                        <a:t>route</a:t>
                      </a:r>
                      <a:r>
                        <a:rPr lang="it-IT" sz="1200" dirty="0">
                          <a:latin typeface="+mn-lt"/>
                        </a:rPr>
                        <a:t> </a:t>
                      </a:r>
                      <a:r>
                        <a:rPr lang="it-IT" sz="1200" dirty="0" err="1">
                          <a:latin typeface="+mn-lt"/>
                        </a:rPr>
                        <a:t>between</a:t>
                      </a:r>
                      <a:r>
                        <a:rPr lang="it-IT" sz="1200" dirty="0">
                          <a:latin typeface="+mn-lt"/>
                        </a:rPr>
                        <a:t> </a:t>
                      </a:r>
                      <a:r>
                        <a:rPr lang="it-IT" sz="1200" dirty="0" err="1">
                          <a:latin typeface="+mn-lt"/>
                        </a:rPr>
                        <a:t>two</a:t>
                      </a:r>
                      <a:r>
                        <a:rPr lang="it-IT" sz="1200" dirty="0">
                          <a:latin typeface="+mn-lt"/>
                        </a:rPr>
                        <a:t> locations.</a:t>
                      </a:r>
                      <a:endParaRPr lang="en-US" sz="120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6167909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it-IT" sz="1200" dirty="0" err="1">
                          <a:latin typeface="+mn-lt"/>
                        </a:rPr>
                        <a:t>Path</a:t>
                      </a:r>
                      <a:endParaRPr lang="en-US" sz="12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sz="1200" dirty="0">
                          <a:latin typeface="+mn-lt"/>
                        </a:rPr>
                        <a:t>Supplier to </a:t>
                      </a:r>
                      <a:r>
                        <a:rPr lang="it-IT" sz="1200" dirty="0" err="1">
                          <a:latin typeface="+mn-lt"/>
                        </a:rPr>
                        <a:t>manufacturer</a:t>
                      </a:r>
                      <a:r>
                        <a:rPr lang="it-IT" sz="1200" dirty="0">
                          <a:latin typeface="+mn-lt"/>
                        </a:rPr>
                        <a:t> carrier </a:t>
                      </a:r>
                      <a:r>
                        <a:rPr lang="it-IT" sz="1200" dirty="0" err="1">
                          <a:latin typeface="+mn-lt"/>
                        </a:rPr>
                        <a:t>path</a:t>
                      </a:r>
                      <a:r>
                        <a:rPr lang="it-IT" sz="1200" dirty="0">
                          <a:latin typeface="+mn-lt"/>
                        </a:rPr>
                        <a:t>.</a:t>
                      </a:r>
                      <a:endParaRPr lang="en-US" sz="120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2571998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it-IT" sz="1200" dirty="0" err="1">
                          <a:latin typeface="+mn-lt"/>
                        </a:rPr>
                        <a:t>Graph</a:t>
                      </a:r>
                      <a:endParaRPr lang="en-US" sz="12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sz="1200" dirty="0">
                          <a:latin typeface="+mn-lt"/>
                        </a:rPr>
                        <a:t>Overall supply chain network.</a:t>
                      </a:r>
                      <a:endParaRPr lang="en-US" sz="120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62514374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43567073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1829BA7-643E-4B66-EDFE-AF0EBD5C3E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38089700-D6AB-DC3E-0135-DA43D7E0464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1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7772400" imgH="10058400" progId="TCLayout.ActiveDocument.1">
                  <p:embed/>
                </p:oleObj>
              </mc:Choice>
              <mc:Fallback>
                <p:oleObj name="think-cell Slide" r:id="rId9" imgW="7772400" imgH="10058400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8089700-D6AB-DC3E-0135-DA43D7E046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2" y="1191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3A5183BE-7662-D7A6-63E2-E298A53D2A6A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342900" y="411480"/>
            <a:ext cx="5629275" cy="588212"/>
          </a:xfrm>
        </p:spPr>
        <p:txBody>
          <a:bodyPr vert="horz" lIns="0" tIns="68580" rIns="0" bIns="34290" rtlCol="0" anchor="t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noProof="1"/>
              <a:t>Realtime Indicators Definition (1)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6" name="Google Shape;703;p114">
                <a:extLst>
                  <a:ext uri="{FF2B5EF4-FFF2-40B4-BE49-F238E27FC236}">
                    <a16:creationId xmlns:a16="http://schemas.microsoft.com/office/drawing/2014/main" id="{4A3AFB96-3BAE-2849-6AD1-A1722B6C5042}"/>
                  </a:ext>
                </a:extLst>
              </p:cNvPr>
              <p:cNvSpPr txBox="1"/>
              <p:nvPr>
                <p:custDataLst>
                  <p:tags r:id="rId4"/>
                </p:custDataLst>
              </p:nvPr>
            </p:nvSpPr>
            <p:spPr>
              <a:xfrm>
                <a:off x="342900" y="1586050"/>
                <a:ext cx="5298619" cy="3107013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68580" tIns="68580" rIns="68580" bIns="0" anchor="t" anchorCtr="0">
                <a:noAutofit/>
              </a:bodyPr>
              <a:lstStyle>
                <a:defPPr>
                  <a:defRPr lang="en-US"/>
                </a:defPPr>
                <a:lvl1pPr marL="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9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8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7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6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5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4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3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2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261938" indent="-175022">
                  <a:spcAft>
                    <a:spcPts val="600"/>
                  </a:spcAft>
                </a:pPr>
                <a:r>
                  <a:rPr lang="en-US" sz="1200" b="1" noProof="1"/>
                  <a:t>Estimated Dispatch Time </a:t>
                </a:r>
                <a:r>
                  <a:rPr lang="en-US" sz="1200" noProof="1"/>
                  <a:t>(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US" sz="1200" b="0" i="0" noProof="1" smtClean="0">
                        <a:latin typeface="Cambria Math" panose="02040503050406030204" pitchFamily="18" charset="0"/>
                      </a:rPr>
                      <m:t>ED</m:t>
                    </m:r>
                    <m:sSub>
                      <m:sSubPr>
                        <m:ctrlPr>
                          <a:rPr lang="en-US" sz="1200" i="1" noProof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sz="1200" b="0" i="0" noProof="1" smtClean="0">
                            <a:latin typeface="Cambria Math" panose="02040503050406030204" pitchFamily="18" charset="0"/>
                          </a:rPr>
                          <m:t>T</m:t>
                        </m:r>
                      </m:e>
                      <m:sub>
                        <m:r>
                          <a:rPr lang="en-US" sz="1200" b="0" i="1" noProof="1" smtClean="0">
                            <a:latin typeface="Cambria Math" panose="02040503050406030204" pitchFamily="18" charset="0"/>
                          </a:rPr>
                          <m:t>𝜇</m:t>
                        </m:r>
                      </m:sub>
                    </m:sSub>
                  </m:oMath>
                </a14:m>
                <a:r>
                  <a:rPr lang="en-US" sz="1200" noProof="1"/>
                  <a:t>): 			Scalar</a:t>
                </a:r>
              </a:p>
              <a:p>
                <a:pPr marL="261938" indent="-175022">
                  <a:spcAft>
                    <a:spcPts val="600"/>
                  </a:spcAft>
                  <a:buFont typeface="Arial" panose="020B0604020202020204" pitchFamily="34" charset="0"/>
                  <a:buChar char="•"/>
                </a:pPr>
                <a:r>
                  <a:rPr lang="en-US" sz="1200" noProof="1"/>
                  <a:t>Defined for each </a:t>
                </a:r>
                <a:r>
                  <a:rPr lang="en-US" sz="1200" b="1" noProof="1"/>
                  <a:t>supplier site</a:t>
                </a:r>
                <a:r>
                  <a:rPr lang="en-US" sz="1200" noProof="1"/>
                  <a:t>.</a:t>
                </a:r>
              </a:p>
              <a:p>
                <a:pPr marL="261938" indent="-175022">
                  <a:spcAft>
                    <a:spcPts val="600"/>
                  </a:spcAft>
                  <a:buFont typeface="Arial" panose="020B0604020202020204" pitchFamily="34" charset="0"/>
                  <a:buChar char="•"/>
                </a:pPr>
                <a:r>
                  <a:rPr lang="en-US" sz="1200" noProof="1"/>
                  <a:t>Based on the </a:t>
                </a:r>
                <a:r>
                  <a:rPr lang="en-US" sz="1200" b="1" noProof="1"/>
                  <a:t>DT historical indicator</a:t>
                </a:r>
                <a:r>
                  <a:rPr lang="en-US" sz="1200" noProof="1"/>
                  <a:t>.</a:t>
                </a:r>
              </a:p>
              <a:p>
                <a:pPr marL="261938" indent="-175022">
                  <a:spcAft>
                    <a:spcPts val="600"/>
                  </a:spcAft>
                  <a:buFont typeface="Arial" panose="020B0604020202020204" pitchFamily="34" charset="0"/>
                  <a:buChar char="•"/>
                </a:pPr>
                <a:r>
                  <a:rPr lang="en-US" sz="1200" noProof="1"/>
                  <a:t>Includes </a:t>
                </a:r>
                <a:r>
                  <a:rPr lang="en-US" sz="1200" b="1" noProof="1"/>
                  <a:t>national holidays </a:t>
                </a:r>
                <a:r>
                  <a:rPr lang="en-US" sz="1200" noProof="1"/>
                  <a:t>to estimate the dispatch time of a supplier.</a:t>
                </a:r>
              </a:p>
              <a:p>
                <a:pPr marL="261938" indent="-175022">
                  <a:spcAft>
                    <a:spcPts val="6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it-IT" sz="1200" b="0" i="0" noProof="1" smtClean="0">
                          <a:latin typeface="Cambria Math" panose="02040503050406030204" pitchFamily="18" charset="0"/>
                        </a:rPr>
                        <m:t>ED</m:t>
                      </m:r>
                      <m:sSub>
                        <m:sSubPr>
                          <m:ctrlPr>
                            <a:rPr lang="en-US" sz="1200" b="0" i="1" noProof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it-IT" sz="1200" b="0" i="0" noProof="1" smtClean="0">
                              <a:latin typeface="Cambria Math" panose="02040503050406030204" pitchFamily="18" charset="0"/>
                            </a:rPr>
                            <m:t>T</m:t>
                          </m:r>
                        </m:e>
                        <m:sub>
                          <m:r>
                            <a:rPr lang="en-US" sz="1200" b="0" i="1" noProof="1" smtClean="0">
                              <a:latin typeface="Cambria Math" panose="02040503050406030204" pitchFamily="18" charset="0"/>
                            </a:rPr>
                            <m:t>𝜇</m:t>
                          </m:r>
                        </m:sub>
                      </m:sSub>
                      <m:r>
                        <a:rPr lang="it-IT" sz="1200" b="0" i="1" noProof="1" smtClean="0">
                          <a:latin typeface="Cambria Math" panose="02040503050406030204" pitchFamily="18" charset="0"/>
                        </a:rPr>
                        <m:t>:</m:t>
                      </m:r>
                      <m:r>
                        <a:rPr lang="en-US" sz="1200" b="0" i="1" noProof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it-IT" sz="1200" b="0" i="1" noProof="1" smtClean="0">
                          <a:latin typeface="Cambria Math" panose="02040503050406030204" pitchFamily="18" charset="0"/>
                        </a:rPr>
                        <m:t>𝑆</m:t>
                      </m:r>
                      <m:r>
                        <a:rPr lang="it-IT" sz="1200" b="0" i="1" noProof="1" smtClean="0">
                          <a:latin typeface="Cambria Math" panose="02040503050406030204" pitchFamily="18" charset="0"/>
                        </a:rPr>
                        <m:t>→</m:t>
                      </m:r>
                      <m:sSub>
                        <m:sSubPr>
                          <m:ctrlPr>
                            <a:rPr lang="it-IT" sz="1200" i="1" noProof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it-IT" sz="1200" i="1" noProof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ℝ</m:t>
                          </m:r>
                        </m:e>
                        <m:sub>
                          <m:r>
                            <a:rPr lang="it-IT" sz="1200" i="1" noProof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</m:sub>
                      </m:sSub>
                    </m:oMath>
                  </m:oMathPara>
                </a14:m>
                <a:endParaRPr lang="en-US" sz="1200" noProof="1"/>
              </a:p>
              <a:p>
                <a:pPr marL="261938" indent="-175022">
                  <a:spcAft>
                    <a:spcPts val="600"/>
                  </a:spcAft>
                </a:pPr>
                <a:endParaRPr lang="en-US" sz="1200" b="1" noProof="1"/>
              </a:p>
              <a:p>
                <a:pPr marL="261938" indent="-175022">
                  <a:spcAft>
                    <a:spcPts val="600"/>
                  </a:spcAft>
                </a:pPr>
                <a:r>
                  <a:rPr lang="en-US" sz="1200" b="1" noProof="1"/>
                  <a:t>Vertex Time </a:t>
                </a:r>
                <a:r>
                  <a:rPr lang="en-US" sz="1200" noProof="1"/>
                  <a:t>(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US" sz="1200" b="0" i="0" noProof="1" smtClean="0">
                        <a:latin typeface="Cambria Math" panose="02040503050406030204" pitchFamily="18" charset="0"/>
                      </a:rPr>
                      <m:t>V</m:t>
                    </m:r>
                    <m:sSub>
                      <m:sSubPr>
                        <m:ctrlPr>
                          <a:rPr lang="en-US" sz="1200" i="1" noProof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sz="1200" b="0" i="0" noProof="1" smtClean="0">
                            <a:latin typeface="Cambria Math" panose="02040503050406030204" pitchFamily="18" charset="0"/>
                          </a:rPr>
                          <m:t>T</m:t>
                        </m:r>
                      </m:e>
                      <m:sub>
                        <m:r>
                          <a:rPr lang="en-US" sz="1200" b="0" i="1" noProof="1" smtClean="0">
                            <a:latin typeface="Cambria Math" panose="02040503050406030204" pitchFamily="18" charset="0"/>
                          </a:rPr>
                          <m:t>𝛽</m:t>
                        </m:r>
                      </m:sub>
                    </m:sSub>
                  </m:oMath>
                </a14:m>
                <a:r>
                  <a:rPr lang="en-US" sz="1200" noProof="1"/>
                  <a:t>):					Interval</a:t>
                </a:r>
              </a:p>
              <a:p>
                <a:pPr marL="261938" indent="-175022">
                  <a:spcAft>
                    <a:spcPts val="600"/>
                  </a:spcAft>
                  <a:buFont typeface="Arial" panose="020B0604020202020204" pitchFamily="34" charset="0"/>
                  <a:buChar char="•"/>
                </a:pPr>
                <a:r>
                  <a:rPr lang="en-US" sz="1200" noProof="1"/>
                  <a:t>Defined for each </a:t>
                </a:r>
                <a:r>
                  <a:rPr lang="en-US" sz="1200" b="1" noProof="1"/>
                  <a:t>carrier facility</a:t>
                </a:r>
                <a:r>
                  <a:rPr lang="en-US" sz="1200" noProof="1"/>
                  <a:t>.</a:t>
                </a:r>
              </a:p>
              <a:p>
                <a:pPr marL="261938" indent="-175022">
                  <a:spcAft>
                    <a:spcPts val="600"/>
                  </a:spcAft>
                  <a:buFont typeface="Arial" panose="020B0604020202020204" pitchFamily="34" charset="0"/>
                  <a:buChar char="•"/>
                </a:pPr>
                <a:r>
                  <a:rPr lang="en-US" sz="1200" noProof="1"/>
                  <a:t>Based on the </a:t>
                </a:r>
                <a:r>
                  <a:rPr lang="en-US" sz="1200" b="1" noProof="1"/>
                  <a:t>historical processing time </a:t>
                </a:r>
                <a:r>
                  <a:rPr lang="en-US" sz="1200" noProof="1"/>
                  <a:t>distribution of the facility.</a:t>
                </a:r>
              </a:p>
              <a:p>
                <a:pPr marL="258366" indent="-171450">
                  <a:spcAft>
                    <a:spcPts val="600"/>
                  </a:spcAft>
                  <a:buFont typeface="Arial" panose="020B0604020202020204" pitchFamily="34" charset="0"/>
                  <a:buChar char="•"/>
                </a:pPr>
                <a:r>
                  <a:rPr lang="en-US" sz="1200" noProof="1"/>
                  <a:t>Provides a </a:t>
                </a:r>
                <a:r>
                  <a:rPr lang="el-GR" sz="1200" b="1" noProof="1"/>
                  <a:t>β</a:t>
                </a:r>
                <a:r>
                  <a:rPr lang="en-US" sz="1200" b="1" noProof="1"/>
                  <a:t>-level confidence interval </a:t>
                </a:r>
                <a:r>
                  <a:rPr lang="en-US" sz="1200" noProof="1"/>
                  <a:t>of</a:t>
                </a:r>
                <a:r>
                  <a:rPr lang="en-US" sz="1200" b="1" noProof="1"/>
                  <a:t> </a:t>
                </a:r>
                <a:r>
                  <a:rPr lang="en-US" sz="1200" noProof="1"/>
                  <a:t>the facility processing time.</a:t>
                </a:r>
                <a:endParaRPr lang="en-US" sz="1200" b="0" i="1" noProof="1">
                  <a:latin typeface="Cambria Math" panose="02040503050406030204" pitchFamily="18" charset="0"/>
                </a:endParaRPr>
              </a:p>
              <a:p>
                <a:pPr marL="86916">
                  <a:spcAft>
                    <a:spcPts val="6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it-IT" sz="1200" b="0" i="0" noProof="1" smtClean="0">
                          <a:latin typeface="Cambria Math" panose="02040503050406030204" pitchFamily="18" charset="0"/>
                        </a:rPr>
                        <m:t>V</m:t>
                      </m:r>
                      <m:sSub>
                        <m:sSubPr>
                          <m:ctrlPr>
                            <a:rPr lang="en-US" sz="1200" b="0" i="1" noProof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it-IT" sz="1200" b="0" i="0" noProof="1" smtClean="0">
                              <a:latin typeface="Cambria Math" panose="02040503050406030204" pitchFamily="18" charset="0"/>
                            </a:rPr>
                            <m:t>T</m:t>
                          </m:r>
                        </m:e>
                        <m:sub>
                          <m:r>
                            <a:rPr lang="en-US" sz="1200" b="0" i="1" noProof="1" smtClean="0">
                              <a:latin typeface="Cambria Math" panose="02040503050406030204" pitchFamily="18" charset="0"/>
                            </a:rPr>
                            <m:t>𝛽</m:t>
                          </m:r>
                        </m:sub>
                      </m:sSub>
                      <m:r>
                        <a:rPr lang="it-IT" sz="1200" b="0" i="1" noProof="1" smtClean="0">
                          <a:latin typeface="Cambria Math" panose="02040503050406030204" pitchFamily="18" charset="0"/>
                        </a:rPr>
                        <m:t>:</m:t>
                      </m:r>
                      <m:r>
                        <a:rPr lang="en-US" sz="1200" b="0" i="1" noProof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it-IT" sz="1200" b="0" i="1" noProof="1" smtClean="0">
                          <a:latin typeface="Cambria Math" panose="02040503050406030204" pitchFamily="18" charset="0"/>
                        </a:rPr>
                        <m:t>𝐼</m:t>
                      </m:r>
                      <m:r>
                        <a:rPr lang="it-IT" sz="1200" b="0" i="1" noProof="1" smtClean="0">
                          <a:latin typeface="Cambria Math" panose="02040503050406030204" pitchFamily="18" charset="0"/>
                        </a:rPr>
                        <m:t>→</m:t>
                      </m:r>
                      <m:sSubSup>
                        <m:sSubSupPr>
                          <m:ctrlPr>
                            <a:rPr lang="it-IT" sz="1200" b="0" i="1" noProof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it-IT" sz="1200" i="1" noProof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ℝ</m:t>
                          </m:r>
                        </m:e>
                        <m:sub>
                          <m:r>
                            <a:rPr lang="it-IT" sz="1200" i="1" noProof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</m:sub>
                        <m:sup>
                          <m:r>
                            <a:rPr lang="it-IT" sz="1200" b="0" i="1" noProof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  <m:r>
                        <a:rPr lang="en-US" sz="1200" b="0" i="1" noProof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,</m:t>
                      </m:r>
                      <m:r>
                        <a:rPr lang="en-US" sz="1200" b="0" i="0" noProof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 </m:t>
                      </m:r>
                      <m:r>
                        <m:rPr>
                          <m:sty m:val="p"/>
                        </m:rPr>
                        <a:rPr lang="en-US" sz="1200" b="0" i="0" noProof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V</m:t>
                      </m:r>
                      <m:sSub>
                        <m:sSubPr>
                          <m:ctrlPr>
                            <a:rPr lang="en-US" sz="1200" b="0" i="1" noProof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en-US" sz="1200" b="0" i="0" noProof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T</m:t>
                          </m:r>
                        </m:e>
                        <m:sub>
                          <m:r>
                            <a:rPr lang="en-US" sz="1200" b="0" i="1" noProof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𝛽</m:t>
                          </m:r>
                        </m:sub>
                      </m:sSub>
                      <m:r>
                        <a:rPr lang="en-US" sz="1200" b="0" i="1" noProof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  <m:d>
                        <m:dPr>
                          <m:ctrlPr>
                            <a:rPr lang="en-US" sz="1200" b="0" i="1" noProof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m:rPr>
                              <m:sty m:val="p"/>
                            </m:rPr>
                            <a:rPr lang="en-US" sz="1200" b="0" i="0" noProof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V</m:t>
                          </m:r>
                          <m:sSup>
                            <m:sSupPr>
                              <m:ctrlPr>
                                <a:rPr lang="en-US" sz="1200" b="0" i="1" noProof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m:rPr>
                                  <m:sty m:val="p"/>
                                </m:rPr>
                                <a:rPr lang="en-US" sz="1200" b="0" i="0" noProof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T</m:t>
                              </m:r>
                            </m:e>
                            <m:sup>
                              <m:r>
                                <a:rPr lang="en-US" sz="1200" b="0" i="1" noProof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𝑙</m:t>
                              </m:r>
                            </m:sup>
                          </m:sSup>
                          <m:r>
                            <a:rPr lang="en-US" sz="1200" b="0" i="1" noProof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m:rPr>
                              <m:sty m:val="p"/>
                            </m:rPr>
                            <a:rPr lang="en-US" sz="1200" b="0" i="0" noProof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V</m:t>
                          </m:r>
                          <m:sSup>
                            <m:sSupPr>
                              <m:ctrlPr>
                                <a:rPr lang="en-US" sz="1200" b="0" i="1" noProof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m:rPr>
                                  <m:sty m:val="p"/>
                                </m:rPr>
                                <a:rPr lang="en-US" sz="1200" b="0" i="0" noProof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T</m:t>
                              </m:r>
                            </m:e>
                            <m:sup>
                              <m:r>
                                <a:rPr lang="en-US" sz="1200" b="0" i="1" noProof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</m:t>
                              </m:r>
                            </m:sup>
                          </m:sSup>
                        </m:e>
                      </m:d>
                    </m:oMath>
                  </m:oMathPara>
                </a14:m>
                <a:endParaRPr lang="en-US" sz="1200" noProof="1"/>
              </a:p>
              <a:p>
                <a:pPr marL="261938" indent="-175022">
                  <a:spcAft>
                    <a:spcPts val="600"/>
                  </a:spcAft>
                </a:pPr>
                <a:endParaRPr lang="en-US" sz="1200" noProof="1"/>
              </a:p>
              <a:p>
                <a:pPr marL="261938" indent="-175022">
                  <a:spcAft>
                    <a:spcPts val="600"/>
                  </a:spcAft>
                </a:pPr>
                <a:endParaRPr lang="it-IT" sz="1200" b="0" i="1" noProof="1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</p:txBody>
          </p:sp>
        </mc:Choice>
        <mc:Fallback>
          <p:sp>
            <p:nvSpPr>
              <p:cNvPr id="6" name="Google Shape;703;p114">
                <a:extLst>
                  <a:ext uri="{FF2B5EF4-FFF2-40B4-BE49-F238E27FC236}">
                    <a16:creationId xmlns:a16="http://schemas.microsoft.com/office/drawing/2014/main" id="{4A3AFB96-3BAE-2849-6AD1-A1722B6C504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>
                <p:custDataLst>
                  <p:tags r:id="rId4"/>
                </p:custDataLst>
              </p:nvPr>
            </p:nvSpPr>
            <p:spPr>
              <a:xfrm>
                <a:off x="342900" y="1586050"/>
                <a:ext cx="5298619" cy="3107013"/>
              </a:xfrm>
              <a:prstGeom prst="rect">
                <a:avLst/>
              </a:prstGeom>
              <a:blipFill>
                <a:blip r:embed="rId11"/>
                <a:stretch>
                  <a:fillRect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7CB00458-F357-C652-F49B-FE7576A7379B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342900" y="255537"/>
            <a:ext cx="8455819" cy="155515"/>
          </a:xfrm>
          <a:prstGeom prst="rect">
            <a:avLst/>
          </a:prstGeom>
        </p:spPr>
        <p:txBody>
          <a:bodyPr vert="horz" lIns="0" tIns="0" rIns="68580" bIns="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000" cap="all" noProof="1">
                <a:solidFill>
                  <a:schemeClr val="accent1"/>
                </a:solidFill>
                <a:latin typeface="Aptos" panose="020B0004020202020204" pitchFamily="34" charset="0"/>
              </a:rPr>
              <a:t>Realtime Indicators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32E01815-593B-207E-734C-E6F3E74BB845}"/>
              </a:ext>
            </a:extLst>
          </p:cNvPr>
          <p:cNvSpPr>
            <a:spLocks noGrp="1"/>
          </p:cNvSpPr>
          <p:nvPr>
            <p:ph type="body" sz="quarter" idx="15"/>
            <p:custDataLst>
              <p:tags r:id="rId6"/>
            </p:custDataLst>
          </p:nvPr>
        </p:nvSpPr>
        <p:spPr>
          <a:xfrm>
            <a:off x="5915892" y="1"/>
            <a:ext cx="3228108" cy="5143500"/>
          </a:xfrm>
          <a:solidFill>
            <a:schemeClr val="bg2"/>
          </a:solidFill>
        </p:spPr>
        <p:txBody>
          <a:bodyPr lIns="342900" tIns="68580" rIns="274320" bIns="6858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0000"/>
              </a:lnSpc>
              <a:spcBef>
                <a:spcPts val="500"/>
              </a:spcBef>
            </a:pPr>
            <a:r>
              <a:rPr lang="en-US" sz="1400" b="1" dirty="0">
                <a:solidFill>
                  <a:srgbClr val="125E4B"/>
                </a:solidFill>
              </a:rPr>
              <a:t>Realtime indicators</a:t>
            </a:r>
            <a:r>
              <a:rPr lang="en-US" sz="1400" dirty="0">
                <a:solidFill>
                  <a:srgbClr val="125E4B"/>
                </a:solidFill>
              </a:rPr>
              <a:t> are statistical measures that provide actionable insights into the current state of the </a:t>
            </a:r>
            <a:r>
              <a:rPr lang="en-US" sz="1400" b="1" dirty="0">
                <a:solidFill>
                  <a:srgbClr val="125E4B"/>
                </a:solidFill>
              </a:rPr>
              <a:t>supply chain. </a:t>
            </a:r>
          </a:p>
          <a:p>
            <a:pPr>
              <a:lnSpc>
                <a:spcPct val="110000"/>
              </a:lnSpc>
              <a:spcBef>
                <a:spcPts val="500"/>
              </a:spcBef>
            </a:pPr>
            <a:r>
              <a:rPr lang="en-US" sz="1400" dirty="0">
                <a:solidFill>
                  <a:srgbClr val="125E4B"/>
                </a:solidFill>
              </a:rPr>
              <a:t>Organized</a:t>
            </a:r>
            <a:r>
              <a:rPr lang="en-US" sz="1400" b="1" dirty="0">
                <a:solidFill>
                  <a:srgbClr val="125E4B"/>
                </a:solidFill>
              </a:rPr>
              <a:t> hierarchically</a:t>
            </a:r>
            <a:r>
              <a:rPr lang="en-US" sz="1400" dirty="0">
                <a:solidFill>
                  <a:srgbClr val="125E4B"/>
                </a:solidFill>
              </a:rPr>
              <a:t> at different </a:t>
            </a:r>
            <a:r>
              <a:rPr lang="en-US" sz="1400" b="1" dirty="0">
                <a:solidFill>
                  <a:srgbClr val="125E4B"/>
                </a:solidFill>
              </a:rPr>
              <a:t>granularity levels</a:t>
            </a:r>
            <a:r>
              <a:rPr lang="en-US" sz="1400" dirty="0">
                <a:solidFill>
                  <a:srgbClr val="125E4B"/>
                </a:solidFill>
              </a:rPr>
              <a:t>, they combine:</a:t>
            </a:r>
          </a:p>
          <a:p>
            <a:pPr marL="285750" indent="-285750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125E4B"/>
                </a:solidFill>
              </a:rPr>
              <a:t>Historical indicators.</a:t>
            </a:r>
          </a:p>
          <a:p>
            <a:pPr marL="285750" indent="-285750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125E4B"/>
                </a:solidFill>
              </a:rPr>
              <a:t>Supply chain graph.</a:t>
            </a:r>
          </a:p>
          <a:p>
            <a:pPr marL="285750" indent="-285750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125E4B"/>
                </a:solidFill>
              </a:rPr>
              <a:t>Real-time data.</a:t>
            </a:r>
          </a:p>
          <a:p>
            <a:pPr marL="285750" indent="-285750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125E4B"/>
                </a:solidFill>
              </a:rPr>
              <a:t>Realtime indicators from lower levels.</a:t>
            </a:r>
          </a:p>
        </p:txBody>
      </p:sp>
      <p:sp>
        <p:nvSpPr>
          <p:cNvPr id="8" name="Google Shape;10527;p9415">
            <a:extLst>
              <a:ext uri="{FF2B5EF4-FFF2-40B4-BE49-F238E27FC236}">
                <a16:creationId xmlns:a16="http://schemas.microsoft.com/office/drawing/2014/main" id="{21B5730E-1C1E-A31C-DEA3-A05C4728F0E7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342898" y="997839"/>
            <a:ext cx="5298621" cy="30028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68580" tIns="34290" rIns="68580" bIns="34290" anchor="ctr" anchorCtr="0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ts val="1100"/>
            </a:pPr>
            <a:r>
              <a:rPr lang="en-US" sz="1400" noProof="1">
                <a:solidFill>
                  <a:schemeClr val="bg1"/>
                </a:solidFill>
                <a:latin typeface="+mj-lt"/>
              </a:rPr>
              <a:t>Vertex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4357092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C2CA573-2FAF-B17B-7AFA-A17853347B6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50A97D06-5DCC-6C33-58E4-1F0BD39B116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1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7772400" imgH="10058400" progId="TCLayout.ActiveDocument.1">
                  <p:embed/>
                </p:oleObj>
              </mc:Choice>
              <mc:Fallback>
                <p:oleObj name="think-cell Slide" r:id="rId9" imgW="7772400" imgH="10058400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0A97D06-5DCC-6C33-58E4-1F0BD39B11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2" y="1191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0C54B159-F123-E23D-4F4F-F5D2668BB0B5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342900" y="411480"/>
            <a:ext cx="5629275" cy="588212"/>
          </a:xfrm>
        </p:spPr>
        <p:txBody>
          <a:bodyPr vert="horz" lIns="0" tIns="68580" rIns="0" bIns="34290" rtlCol="0" anchor="t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noProof="1"/>
              <a:t>Realtime Indicators Definition (2)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" name="Google Shape;703;p114">
                <a:extLst>
                  <a:ext uri="{FF2B5EF4-FFF2-40B4-BE49-F238E27FC236}">
                    <a16:creationId xmlns:a16="http://schemas.microsoft.com/office/drawing/2014/main" id="{9DFB7A4B-1D49-B2F9-52F0-D8C741D3DD4F}"/>
                  </a:ext>
                </a:extLst>
              </p:cNvPr>
              <p:cNvSpPr txBox="1"/>
              <p:nvPr>
                <p:custDataLst>
                  <p:tags r:id="rId4"/>
                </p:custDataLst>
              </p:nvPr>
            </p:nvSpPr>
            <p:spPr>
              <a:xfrm>
                <a:off x="342900" y="1586051"/>
                <a:ext cx="5298619" cy="323422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68580" tIns="68580" rIns="68580" bIns="0" anchor="t" anchorCtr="0">
                <a:noAutofit/>
              </a:bodyPr>
              <a:lstStyle>
                <a:defPPr>
                  <a:defRPr lang="en-US"/>
                </a:defPPr>
                <a:lvl1pPr marL="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9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8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7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6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5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4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3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2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261938" indent="-175022">
                  <a:spcAft>
                    <a:spcPts val="600"/>
                  </a:spcAft>
                </a:pPr>
                <a:r>
                  <a:rPr lang="en-US" sz="1200" b="1" noProof="1"/>
                  <a:t>Traffic &amp; Weather Meta Index </a:t>
                </a:r>
                <a:r>
                  <a:rPr lang="en-US" sz="1200" noProof="1"/>
                  <a:t>(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US" sz="1200" b="0" i="0" noProof="1" smtClean="0">
                        <a:latin typeface="Cambria Math" panose="02040503050406030204" pitchFamily="18" charset="0"/>
                      </a:rPr>
                      <m:t>TMI</m:t>
                    </m:r>
                    <m:r>
                      <a:rPr lang="en-US" sz="1200" b="0" i="0" noProof="1" smtClean="0">
                        <a:latin typeface="Cambria Math" panose="02040503050406030204" pitchFamily="18" charset="0"/>
                      </a:rPr>
                      <m:t>, </m:t>
                    </m:r>
                    <m:r>
                      <m:rPr>
                        <m:sty m:val="p"/>
                      </m:rPr>
                      <a:rPr lang="en-US" sz="1200" b="0" i="0" noProof="1" smtClean="0">
                        <a:latin typeface="Cambria Math" panose="02040503050406030204" pitchFamily="18" charset="0"/>
                      </a:rPr>
                      <m:t>WMI</m:t>
                    </m:r>
                  </m:oMath>
                </a14:m>
                <a:r>
                  <a:rPr lang="en-US" sz="1200" noProof="1"/>
                  <a:t>)</a:t>
                </a:r>
                <a:r>
                  <a:rPr lang="en-US" sz="1200" b="1" noProof="1"/>
                  <a:t>			</a:t>
                </a:r>
                <a:r>
                  <a:rPr lang="en-US" sz="1200" noProof="1"/>
                  <a:t>Scalar</a:t>
                </a:r>
              </a:p>
              <a:p>
                <a:pPr marL="261938" indent="-175022">
                  <a:spcAft>
                    <a:spcPts val="600"/>
                  </a:spcAft>
                  <a:buFont typeface="Arial" panose="020B0604020202020204" pitchFamily="34" charset="0"/>
                  <a:buChar char="•"/>
                </a:pPr>
                <a:r>
                  <a:rPr lang="en-US" sz="1200" noProof="1"/>
                  <a:t>Based on </a:t>
                </a:r>
                <a:r>
                  <a:rPr lang="en-US" sz="1200" b="1" noProof="1"/>
                  <a:t>real-time data </a:t>
                </a:r>
                <a:r>
                  <a:rPr lang="en-US" sz="1200" noProof="1"/>
                  <a:t>retrieved from external services.</a:t>
                </a:r>
              </a:p>
              <a:p>
                <a:pPr marL="261938" indent="-175022">
                  <a:spcAft>
                    <a:spcPts val="600"/>
                  </a:spcAft>
                  <a:buFont typeface="Arial" panose="020B0604020202020204" pitchFamily="34" charset="0"/>
                  <a:buChar char="•"/>
                </a:pPr>
                <a:r>
                  <a:rPr lang="en-US" sz="1200" noProof="1"/>
                  <a:t>Provides a measurement of </a:t>
                </a:r>
                <a:r>
                  <a:rPr lang="en-US" sz="1200" b="1" noProof="1"/>
                  <a:t>traffic </a:t>
                </a:r>
                <a:r>
                  <a:rPr lang="en-US" sz="1200" noProof="1"/>
                  <a:t>and</a:t>
                </a:r>
                <a:r>
                  <a:rPr lang="en-US" sz="1200" b="1" noProof="1"/>
                  <a:t> weather impacts </a:t>
                </a:r>
                <a:r>
                  <a:rPr lang="en-US" sz="1200" noProof="1"/>
                  <a:t>on carrier routes.</a:t>
                </a:r>
              </a:p>
              <a:p>
                <a:pPr marL="261938" indent="-175022">
                  <a:spcAft>
                    <a:spcPts val="6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it-IT" sz="1200" b="0" i="0" noProof="1" smtClean="0">
                          <a:latin typeface="Cambria Math" panose="02040503050406030204" pitchFamily="18" charset="0"/>
                        </a:rPr>
                        <m:t>TMI</m:t>
                      </m:r>
                      <m:r>
                        <a:rPr lang="it-IT" sz="1200" b="0" i="1" noProof="1" smtClean="0">
                          <a:latin typeface="Cambria Math" panose="02040503050406030204" pitchFamily="18" charset="0"/>
                        </a:rPr>
                        <m:t>:</m:t>
                      </m:r>
                      <m:r>
                        <a:rPr lang="en-US" sz="1200" b="0" i="1" noProof="1" smtClean="0">
                          <a:latin typeface="Cambria Math" panose="02040503050406030204" pitchFamily="18" charset="0"/>
                        </a:rPr>
                        <m:t> </m:t>
                      </m:r>
                      <m:sSup>
                        <m:sSupPr>
                          <m:ctrlPr>
                            <a:rPr lang="it-IT" sz="1200" b="0" i="1" noProof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it-IT" sz="1200" b="0" i="1" noProof="1" smtClean="0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p>
                          <m:r>
                            <a:rPr lang="it-IT" sz="1200" b="0" i="1" noProof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p>
                      <m:r>
                        <a:rPr lang="it-IT" sz="1200" b="0" i="1" noProof="1" smtClean="0">
                          <a:latin typeface="Cambria Math" panose="02040503050406030204" pitchFamily="18" charset="0"/>
                        </a:rPr>
                        <m:t>×</m:t>
                      </m:r>
                      <m:sSub>
                        <m:sSubPr>
                          <m:ctrlPr>
                            <a:rPr lang="it-IT" sz="1200" i="1" noProof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it-IT" sz="1200" i="1" noProof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ℝ</m:t>
                          </m:r>
                        </m:e>
                        <m:sub>
                          <m:r>
                            <a:rPr lang="it-IT" sz="1200" i="1" noProof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</m:sub>
                      </m:sSub>
                      <m:r>
                        <a:rPr lang="it-IT" sz="1200" b="0" i="1" noProof="1" smtClean="0">
                          <a:latin typeface="Cambria Math" panose="02040503050406030204" pitchFamily="18" charset="0"/>
                        </a:rPr>
                        <m:t>→</m:t>
                      </m:r>
                      <m:d>
                        <m:dPr>
                          <m:begChr m:val="["/>
                          <m:endChr m:val="]"/>
                          <m:ctrlPr>
                            <a:rPr lang="it-IT" sz="1200" b="0" i="1" noProof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it-IT" sz="1200" b="0" i="1" noProof="1" smtClean="0">
                              <a:latin typeface="Cambria Math" panose="02040503050406030204" pitchFamily="18" charset="0"/>
                            </a:rPr>
                            <m:t>0,1</m:t>
                          </m:r>
                        </m:e>
                      </m:d>
                      <m:r>
                        <a:rPr lang="it-IT" sz="1200" b="0" i="1" noProof="1" smtClean="0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it-IT" sz="1200" b="0" i="0" noProof="1" smtClean="0">
                          <a:latin typeface="Cambria Math" panose="02040503050406030204" pitchFamily="18" charset="0"/>
                        </a:rPr>
                        <m:t>  </m:t>
                      </m:r>
                      <m:r>
                        <m:rPr>
                          <m:sty m:val="p"/>
                        </m:rPr>
                        <a:rPr lang="it-IT" sz="1200" b="0" i="0" noProof="1" smtClean="0">
                          <a:latin typeface="Cambria Math" panose="02040503050406030204" pitchFamily="18" charset="0"/>
                        </a:rPr>
                        <m:t>WMI</m:t>
                      </m:r>
                      <m:r>
                        <a:rPr lang="it-IT" sz="1200" i="1" noProof="1">
                          <a:latin typeface="Cambria Math" panose="02040503050406030204" pitchFamily="18" charset="0"/>
                        </a:rPr>
                        <m:t>:</m:t>
                      </m:r>
                      <m:r>
                        <a:rPr lang="en-US" sz="1200" b="0" i="1" noProof="1" smtClean="0">
                          <a:latin typeface="Cambria Math" panose="02040503050406030204" pitchFamily="18" charset="0"/>
                        </a:rPr>
                        <m:t> </m:t>
                      </m:r>
                      <m:sSup>
                        <m:sSupPr>
                          <m:ctrlPr>
                            <a:rPr lang="it-IT" sz="1200" i="1" noProof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it-IT" sz="1200" i="1" noProof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p>
                          <m:r>
                            <a:rPr lang="it-IT" sz="1200" i="1" noProof="1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p>
                      <m:r>
                        <a:rPr lang="it-IT" sz="1200" b="0" i="1" noProof="1" smtClean="0">
                          <a:latin typeface="Cambria Math" panose="02040503050406030204" pitchFamily="18" charset="0"/>
                        </a:rPr>
                        <m:t>×</m:t>
                      </m:r>
                      <m:sSub>
                        <m:sSubPr>
                          <m:ctrlPr>
                            <a:rPr lang="it-IT" sz="1200" i="1" noProof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it-IT" sz="1200" i="1" noProof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ℝ</m:t>
                          </m:r>
                        </m:e>
                        <m:sub>
                          <m:r>
                            <a:rPr lang="it-IT" sz="1200" i="1" noProof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</m:sub>
                      </m:sSub>
                      <m:r>
                        <a:rPr lang="it-IT" sz="1200" i="1" noProof="1">
                          <a:latin typeface="Cambria Math" panose="02040503050406030204" pitchFamily="18" charset="0"/>
                        </a:rPr>
                        <m:t>→</m:t>
                      </m:r>
                      <m:d>
                        <m:dPr>
                          <m:begChr m:val="["/>
                          <m:endChr m:val="]"/>
                          <m:ctrlPr>
                            <a:rPr lang="it-IT" sz="1200" i="1" noProof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it-IT" sz="1200" i="1" noProof="1">
                              <a:latin typeface="Cambria Math" panose="02040503050406030204" pitchFamily="18" charset="0"/>
                            </a:rPr>
                            <m:t>0,1</m:t>
                          </m:r>
                        </m:e>
                      </m:d>
                    </m:oMath>
                  </m:oMathPara>
                </a14:m>
                <a:endParaRPr lang="en-US" sz="1200" noProof="1"/>
              </a:p>
              <a:p>
                <a:pPr marL="261938" indent="-175022">
                  <a:spcAft>
                    <a:spcPts val="600"/>
                  </a:spcAft>
                </a:pPr>
                <a:endParaRPr lang="en-US" sz="1200" noProof="1"/>
              </a:p>
              <a:p>
                <a:pPr marL="261938" indent="-175022">
                  <a:spcAft>
                    <a:spcPts val="600"/>
                  </a:spcAft>
                </a:pPr>
                <a:r>
                  <a:rPr lang="en-US" sz="1200" b="1" noProof="1"/>
                  <a:t>Route Time </a:t>
                </a:r>
                <a:r>
                  <a:rPr lang="en-US" sz="1200" noProof="1"/>
                  <a:t>(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US" sz="1200" b="0" i="0" noProof="1" smtClean="0">
                        <a:latin typeface="Cambria Math" panose="02040503050406030204" pitchFamily="18" charset="0"/>
                      </a:rPr>
                      <m:t>R</m:t>
                    </m:r>
                    <m:sSub>
                      <m:sSubPr>
                        <m:ctrlPr>
                          <a:rPr lang="en-US" sz="1200" i="1" noProof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sz="1200" b="0" i="0" noProof="1" smtClean="0">
                            <a:latin typeface="Cambria Math" panose="02040503050406030204" pitchFamily="18" charset="0"/>
                          </a:rPr>
                          <m:t>T</m:t>
                        </m:r>
                      </m:e>
                      <m:sub>
                        <m:r>
                          <a:rPr lang="en-US" sz="1200" b="0" i="1" noProof="1" smtClean="0">
                            <a:latin typeface="Cambria Math" panose="02040503050406030204" pitchFamily="18" charset="0"/>
                          </a:rPr>
                          <m:t>𝛽</m:t>
                        </m:r>
                      </m:sub>
                    </m:sSub>
                  </m:oMath>
                </a14:m>
                <a:r>
                  <a:rPr lang="en-US" sz="1200" noProof="1"/>
                  <a:t>): 					Interval</a:t>
                </a:r>
              </a:p>
              <a:p>
                <a:pPr marL="261938" indent="-175022">
                  <a:spcAft>
                    <a:spcPts val="600"/>
                  </a:spcAft>
                  <a:buFont typeface="Arial" panose="020B0604020202020204" pitchFamily="34" charset="0"/>
                  <a:buChar char="•"/>
                </a:pPr>
                <a:r>
                  <a:rPr lang="en-US" sz="1200" noProof="1"/>
                  <a:t>Based on the </a:t>
                </a:r>
                <a:r>
                  <a:rPr lang="en-US" sz="1200" b="1" noProof="1"/>
                  <a:t>historical travel time </a:t>
                </a:r>
                <a:r>
                  <a:rPr lang="en-US" sz="1200" noProof="1"/>
                  <a:t>distribution of carrier routes.</a:t>
                </a:r>
              </a:p>
              <a:p>
                <a:pPr marL="261938" indent="-175022">
                  <a:spcAft>
                    <a:spcPts val="600"/>
                  </a:spcAft>
                  <a:buFont typeface="Arial" panose="020B0604020202020204" pitchFamily="34" charset="0"/>
                  <a:buChar char="•"/>
                </a:pPr>
                <a:r>
                  <a:rPr lang="en-US" sz="1200" noProof="1"/>
                  <a:t>Provides a </a:t>
                </a:r>
                <a:r>
                  <a:rPr lang="el-GR" sz="1200" b="1" noProof="1"/>
                  <a:t>β</a:t>
                </a:r>
                <a:r>
                  <a:rPr lang="en-US" sz="1200" b="1" noProof="1"/>
                  <a:t>-level confidence interval </a:t>
                </a:r>
                <a:r>
                  <a:rPr lang="en-US" sz="1200" noProof="1"/>
                  <a:t>of the route travel time.</a:t>
                </a:r>
              </a:p>
              <a:p>
                <a:pPr marL="261938" indent="-175022">
                  <a:spcAft>
                    <a:spcPts val="6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it-IT" sz="1200" i="0" noProof="1" smtClean="0">
                          <a:latin typeface="Cambria Math" panose="02040503050406030204" pitchFamily="18" charset="0"/>
                        </a:rPr>
                        <m:t>R</m:t>
                      </m:r>
                      <m:sSub>
                        <m:sSubPr>
                          <m:ctrlPr>
                            <a:rPr lang="en-US" sz="1200" b="0" i="1" noProof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it-IT" sz="1200" i="0" noProof="1">
                              <a:latin typeface="Cambria Math" panose="02040503050406030204" pitchFamily="18" charset="0"/>
                            </a:rPr>
                            <m:t>T</m:t>
                          </m:r>
                        </m:e>
                        <m:sub>
                          <m:r>
                            <a:rPr lang="en-US" sz="1200" b="0" i="1" noProof="1" smtClean="0">
                              <a:latin typeface="Cambria Math" panose="02040503050406030204" pitchFamily="18" charset="0"/>
                            </a:rPr>
                            <m:t>𝛽</m:t>
                          </m:r>
                        </m:sub>
                      </m:sSub>
                      <m:r>
                        <a:rPr lang="it-IT" sz="1200" i="1" noProof="1">
                          <a:latin typeface="Cambria Math" panose="02040503050406030204" pitchFamily="18" charset="0"/>
                        </a:rPr>
                        <m:t>:</m:t>
                      </m:r>
                      <m:sSup>
                        <m:sSupPr>
                          <m:ctrlPr>
                            <a:rPr lang="it-IT" sz="1200" b="0" i="1" noProof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sz="1200" b="0" i="1" noProof="1" smtClean="0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it-IT" sz="1200" b="0" i="1" noProof="1" smtClean="0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p>
                          <m:r>
                            <a:rPr lang="it-IT" sz="1200" b="0" i="1" noProof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p>
                      <m:r>
                        <a:rPr lang="it-IT" sz="1200" i="1" noProof="1">
                          <a:latin typeface="Cambria Math" panose="02040503050406030204" pitchFamily="18" charset="0"/>
                        </a:rPr>
                        <m:t>→</m:t>
                      </m:r>
                      <m:sSubSup>
                        <m:sSubSupPr>
                          <m:ctrlPr>
                            <a:rPr lang="it-IT" sz="1200" i="1" noProof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it-IT" sz="1200" i="1" noProof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ℝ</m:t>
                          </m:r>
                        </m:e>
                        <m:sub>
                          <m:r>
                            <a:rPr lang="it-IT" sz="1200" i="1" noProof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</m:sub>
                        <m:sup>
                          <m:r>
                            <a:rPr lang="it-IT" sz="1200" i="1" noProof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  <m:r>
                        <a:rPr lang="en-US" sz="1200" i="1" noProof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,</m:t>
                      </m:r>
                      <m:r>
                        <a:rPr lang="en-US" sz="1200" b="0" i="1" noProof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 </m:t>
                      </m:r>
                      <m:r>
                        <m:rPr>
                          <m:sty m:val="p"/>
                        </m:rPr>
                        <a:rPr lang="en-US" sz="1200" b="0" i="0" noProof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R</m:t>
                      </m:r>
                      <m:sSub>
                        <m:sSubPr>
                          <m:ctrlPr>
                            <a:rPr lang="en-US" sz="1200" b="0" i="1" noProof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en-US" sz="1200" i="0" noProof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T</m:t>
                          </m:r>
                        </m:e>
                        <m:sub>
                          <m:r>
                            <a:rPr lang="en-US" sz="1200" b="0" i="1" noProof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𝛽</m:t>
                          </m:r>
                        </m:sub>
                      </m:sSub>
                      <m:r>
                        <a:rPr lang="en-US" sz="1200" i="1" noProof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  <m:d>
                        <m:dPr>
                          <m:ctrlPr>
                            <a:rPr lang="en-US" sz="1200" i="1" noProof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m:rPr>
                              <m:sty m:val="p"/>
                            </m:rPr>
                            <a:rPr lang="en-US" sz="1200" b="0" i="1" noProof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R</m:t>
                          </m:r>
                          <m:sSup>
                            <m:sSupPr>
                              <m:ctrlPr>
                                <a:rPr lang="en-US" sz="1200" i="1" noProof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m:rPr>
                                  <m:sty m:val="p"/>
                                </m:rPr>
                                <a:rPr lang="en-US" sz="1200" i="0" noProof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T</m:t>
                              </m:r>
                            </m:e>
                            <m:sup>
                              <m:r>
                                <a:rPr lang="en-US" sz="1200" i="1" noProof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𝑙</m:t>
                              </m:r>
                            </m:sup>
                          </m:sSup>
                          <m:r>
                            <a:rPr lang="en-US" sz="1200" i="1" noProof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m:rPr>
                              <m:sty m:val="p"/>
                            </m:rPr>
                            <a:rPr lang="en-US" sz="1200" b="0" i="1" noProof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R</m:t>
                          </m:r>
                          <m:sSup>
                            <m:sSupPr>
                              <m:ctrlPr>
                                <a:rPr lang="en-US" sz="1200" i="1" noProof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m:rPr>
                                  <m:sty m:val="p"/>
                                </m:rPr>
                                <a:rPr lang="en-US" sz="1200" i="0" noProof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T</m:t>
                              </m:r>
                            </m:e>
                            <m:sup>
                              <m:r>
                                <a:rPr lang="en-US" sz="1200" i="1" noProof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</m:t>
                              </m:r>
                            </m:sup>
                          </m:sSup>
                        </m:e>
                      </m:d>
                    </m:oMath>
                  </m:oMathPara>
                </a14:m>
                <a:endParaRPr lang="en-US" sz="1200" noProof="1"/>
              </a:p>
            </p:txBody>
          </p:sp>
        </mc:Choice>
        <mc:Fallback xmlns="">
          <p:sp>
            <p:nvSpPr>
              <p:cNvPr id="6" name="Google Shape;703;p114">
                <a:extLst>
                  <a:ext uri="{FF2B5EF4-FFF2-40B4-BE49-F238E27FC236}">
                    <a16:creationId xmlns:a16="http://schemas.microsoft.com/office/drawing/2014/main" id="{9DFB7A4B-1D49-B2F9-52F0-D8C741D3DD4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>
                <p:custDataLst>
                  <p:tags r:id="rId11"/>
                </p:custDataLst>
              </p:nvPr>
            </p:nvSpPr>
            <p:spPr>
              <a:xfrm>
                <a:off x="342900" y="1586051"/>
                <a:ext cx="5298619" cy="3234229"/>
              </a:xfrm>
              <a:prstGeom prst="rect">
                <a:avLst/>
              </a:prstGeom>
              <a:blipFill>
                <a:blip r:embed="rId12"/>
                <a:stretch>
                  <a:fillRect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722F07E3-5EF9-E6EE-B909-EB6EEF8948E2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342900" y="255537"/>
            <a:ext cx="8455819" cy="155515"/>
          </a:xfrm>
          <a:prstGeom prst="rect">
            <a:avLst/>
          </a:prstGeom>
        </p:spPr>
        <p:txBody>
          <a:bodyPr vert="horz" lIns="0" tIns="0" rIns="68580" bIns="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000" cap="all" noProof="1">
                <a:solidFill>
                  <a:schemeClr val="accent1"/>
                </a:solidFill>
                <a:latin typeface="Aptos" panose="020B0004020202020204" pitchFamily="34" charset="0"/>
              </a:rPr>
              <a:t>Realtime Indicators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F3887584-7C25-1440-99CE-4351BDCBDC25}"/>
              </a:ext>
            </a:extLst>
          </p:cNvPr>
          <p:cNvSpPr>
            <a:spLocks noGrp="1"/>
          </p:cNvSpPr>
          <p:nvPr>
            <p:ph type="body" sz="quarter" idx="15"/>
            <p:custDataLst>
              <p:tags r:id="rId6"/>
            </p:custDataLst>
          </p:nvPr>
        </p:nvSpPr>
        <p:spPr>
          <a:xfrm>
            <a:off x="5915892" y="1"/>
            <a:ext cx="3228108" cy="5143500"/>
          </a:xfrm>
          <a:solidFill>
            <a:schemeClr val="bg2"/>
          </a:solidFill>
        </p:spPr>
        <p:txBody>
          <a:bodyPr lIns="342900" tIns="68580" rIns="274320" bIns="6858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0000"/>
              </a:lnSpc>
              <a:spcBef>
                <a:spcPts val="500"/>
              </a:spcBef>
            </a:pPr>
            <a:r>
              <a:rPr lang="en-US" sz="1400" b="1" dirty="0">
                <a:solidFill>
                  <a:srgbClr val="125E4B"/>
                </a:solidFill>
              </a:rPr>
              <a:t>Realtime indicators</a:t>
            </a:r>
            <a:r>
              <a:rPr lang="en-US" sz="1400" dirty="0">
                <a:solidFill>
                  <a:srgbClr val="125E4B"/>
                </a:solidFill>
              </a:rPr>
              <a:t> are statistical measures that provide actionable insights into the current state of the </a:t>
            </a:r>
            <a:r>
              <a:rPr lang="en-US" sz="1400" b="1" dirty="0">
                <a:solidFill>
                  <a:srgbClr val="125E4B"/>
                </a:solidFill>
              </a:rPr>
              <a:t>supply chain. </a:t>
            </a:r>
          </a:p>
          <a:p>
            <a:pPr>
              <a:lnSpc>
                <a:spcPct val="110000"/>
              </a:lnSpc>
              <a:spcBef>
                <a:spcPts val="500"/>
              </a:spcBef>
            </a:pPr>
            <a:r>
              <a:rPr lang="en-US" sz="1400" dirty="0">
                <a:solidFill>
                  <a:srgbClr val="125E4B"/>
                </a:solidFill>
              </a:rPr>
              <a:t>Organized</a:t>
            </a:r>
            <a:r>
              <a:rPr lang="en-US" sz="1400" b="1" dirty="0">
                <a:solidFill>
                  <a:srgbClr val="125E4B"/>
                </a:solidFill>
              </a:rPr>
              <a:t> hierarchically</a:t>
            </a:r>
            <a:r>
              <a:rPr lang="en-US" sz="1400" dirty="0">
                <a:solidFill>
                  <a:srgbClr val="125E4B"/>
                </a:solidFill>
              </a:rPr>
              <a:t> at different </a:t>
            </a:r>
            <a:r>
              <a:rPr lang="en-US" sz="1400" b="1" dirty="0">
                <a:solidFill>
                  <a:srgbClr val="125E4B"/>
                </a:solidFill>
              </a:rPr>
              <a:t>granularity levels</a:t>
            </a:r>
            <a:r>
              <a:rPr lang="en-US" sz="1400" dirty="0">
                <a:solidFill>
                  <a:srgbClr val="125E4B"/>
                </a:solidFill>
              </a:rPr>
              <a:t>, they combine:</a:t>
            </a:r>
          </a:p>
          <a:p>
            <a:pPr marL="285750" indent="-285750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125E4B"/>
                </a:solidFill>
              </a:rPr>
              <a:t>Historical indicators.</a:t>
            </a:r>
          </a:p>
          <a:p>
            <a:pPr marL="285750" indent="-285750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125E4B"/>
                </a:solidFill>
              </a:rPr>
              <a:t>Supply chain graph.</a:t>
            </a:r>
          </a:p>
          <a:p>
            <a:pPr marL="285750" indent="-285750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125E4B"/>
                </a:solidFill>
              </a:rPr>
              <a:t>Real-time data.</a:t>
            </a:r>
          </a:p>
          <a:p>
            <a:pPr marL="285750" indent="-285750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125E4B"/>
                </a:solidFill>
              </a:rPr>
              <a:t>Realtime indicators from lower levels.</a:t>
            </a:r>
          </a:p>
        </p:txBody>
      </p:sp>
      <p:sp>
        <p:nvSpPr>
          <p:cNvPr id="4" name="Google Shape;10527;p9415">
            <a:extLst>
              <a:ext uri="{FF2B5EF4-FFF2-40B4-BE49-F238E27FC236}">
                <a16:creationId xmlns:a16="http://schemas.microsoft.com/office/drawing/2014/main" id="{0BEF2FDD-0245-39E9-D878-ED400B9B5AC4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342898" y="997839"/>
            <a:ext cx="5298621" cy="30028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68580" tIns="34290" rIns="68580" bIns="34290" anchor="ctr" anchorCtr="0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ts val="1100"/>
            </a:pPr>
            <a:r>
              <a:rPr lang="en-US" sz="1400" noProof="1">
                <a:solidFill>
                  <a:schemeClr val="bg1"/>
                </a:solidFill>
                <a:latin typeface="+mj-lt"/>
              </a:rPr>
              <a:t>Route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8654724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2439DD6-73FA-2A4F-F2CD-E1408BAFD1D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577C2CCA-9EF4-3C81-1846-3724B543DAE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1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7772400" imgH="10058400" progId="TCLayout.ActiveDocument.1">
                  <p:embed/>
                </p:oleObj>
              </mc:Choice>
              <mc:Fallback>
                <p:oleObj name="think-cell Slide" r:id="rId9" imgW="7772400" imgH="10058400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77C2CCA-9EF4-3C81-1846-3724B543DA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2" y="1191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7CAF31E4-DB9F-5B2F-7069-053955B02542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342900" y="411480"/>
            <a:ext cx="5629275" cy="588212"/>
          </a:xfrm>
        </p:spPr>
        <p:txBody>
          <a:bodyPr vert="horz" lIns="0" tIns="68580" rIns="0" bIns="34290" rtlCol="0" anchor="t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noProof="1"/>
              <a:t>Realtime Indicators Definition (3)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6" name="Google Shape;703;p114">
                <a:extLst>
                  <a:ext uri="{FF2B5EF4-FFF2-40B4-BE49-F238E27FC236}">
                    <a16:creationId xmlns:a16="http://schemas.microsoft.com/office/drawing/2014/main" id="{5FA68857-FBCE-7EE8-E18B-9FAE165080EF}"/>
                  </a:ext>
                </a:extLst>
              </p:cNvPr>
              <p:cNvSpPr txBox="1"/>
              <p:nvPr>
                <p:custDataLst>
                  <p:tags r:id="rId4"/>
                </p:custDataLst>
              </p:nvPr>
            </p:nvSpPr>
            <p:spPr>
              <a:xfrm>
                <a:off x="342900" y="1586050"/>
                <a:ext cx="5298619" cy="323422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68580" tIns="68580" rIns="68580" bIns="0" anchor="t" anchorCtr="0">
                <a:noAutofit/>
              </a:bodyPr>
              <a:lstStyle>
                <a:defPPr>
                  <a:defRPr lang="en-US"/>
                </a:defPPr>
                <a:lvl1pPr marL="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9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8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7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6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5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4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3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2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261938" indent="-175022">
                  <a:spcAft>
                    <a:spcPts val="600"/>
                  </a:spcAft>
                </a:pPr>
                <a:r>
                  <a:rPr lang="en-US" sz="1200" b="1" noProof="1"/>
                  <a:t>Dynamic Route Time </a:t>
                </a:r>
                <a:r>
                  <a:rPr lang="en-US" sz="1200" noProof="1"/>
                  <a:t>(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1200" b="0" i="1" noProof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sz="1200" b="0" i="1" noProof="1" smtClean="0">
                            <a:latin typeface="Cambria Math" panose="02040503050406030204" pitchFamily="18" charset="0"/>
                          </a:rPr>
                          <m:t>DRT</m:t>
                        </m:r>
                      </m:e>
                      <m:sub>
                        <m:r>
                          <a:rPr lang="en-US" sz="1200" b="0" i="1" noProof="1" smtClean="0">
                            <a:latin typeface="Cambria Math" panose="02040503050406030204" pitchFamily="18" charset="0"/>
                          </a:rPr>
                          <m:t>𝛽</m:t>
                        </m:r>
                      </m:sub>
                    </m:sSub>
                    <m:r>
                      <a:rPr lang="en-US" sz="1200" b="0" i="0" noProof="1" smtClean="0">
                        <a:latin typeface="Cambria Math" panose="02040503050406030204" pitchFamily="18" charset="0"/>
                      </a:rPr>
                      <m:t>)</m:t>
                    </m:r>
                    <m:r>
                      <a:rPr lang="en-US" sz="1200" b="1" i="1" noProof="1" smtClean="0">
                        <a:latin typeface="Cambria Math" panose="02040503050406030204" pitchFamily="18" charset="0"/>
                      </a:rPr>
                      <m:t>: </m:t>
                    </m:r>
                  </m:oMath>
                </a14:m>
                <a:r>
                  <a:rPr lang="en-US" sz="1200" b="1" noProof="1"/>
                  <a:t>				</a:t>
                </a:r>
                <a:r>
                  <a:rPr lang="en-US" sz="1200" noProof="1"/>
                  <a:t>Interval</a:t>
                </a:r>
              </a:p>
              <a:p>
                <a:pPr marL="261938" indent="-175022">
                  <a:spcAft>
                    <a:spcPts val="600"/>
                  </a:spcAft>
                  <a:buFont typeface="Arial" panose="020B0604020202020204" pitchFamily="34" charset="0"/>
                  <a:buChar char="•"/>
                </a:pPr>
                <a:r>
                  <a:rPr lang="en-US" sz="1200" noProof="1"/>
                  <a:t>Combines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US" sz="1200" i="0" noProof="1" smtClean="0">
                        <a:latin typeface="Cambria Math" panose="02040503050406030204" pitchFamily="18" charset="0"/>
                      </a:rPr>
                      <m:t>R</m:t>
                    </m:r>
                    <m:sSub>
                      <m:sSubPr>
                        <m:ctrlPr>
                          <a:rPr lang="en-US" sz="1200" b="0" i="1" noProof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sz="1200" b="0" i="0" noProof="1" smtClean="0">
                            <a:latin typeface="Cambria Math" panose="02040503050406030204" pitchFamily="18" charset="0"/>
                          </a:rPr>
                          <m:t>T</m:t>
                        </m:r>
                      </m:e>
                      <m:sub>
                        <m:r>
                          <a:rPr lang="en-US" sz="1200" b="0" i="1" noProof="1" smtClean="0">
                            <a:latin typeface="Cambria Math" panose="02040503050406030204" pitchFamily="18" charset="0"/>
                          </a:rPr>
                          <m:t>𝛽</m:t>
                        </m:r>
                      </m:sub>
                    </m:sSub>
                  </m:oMath>
                </a14:m>
                <a:r>
                  <a:rPr lang="en-US" sz="1200" noProof="1"/>
                  <a:t>,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US" sz="1200" b="0" i="0" noProof="1" smtClean="0">
                        <a:latin typeface="Cambria Math" panose="02040503050406030204" pitchFamily="18" charset="0"/>
                      </a:rPr>
                      <m:t>TMI</m:t>
                    </m:r>
                    <m:r>
                      <a:rPr lang="en-US" sz="1200" i="1" noProof="1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US" sz="1200" noProof="1"/>
                  <a:t>and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US" sz="1200" b="0" i="0" noProof="1" smtClean="0">
                        <a:latin typeface="Cambria Math" panose="02040503050406030204" pitchFamily="18" charset="0"/>
                      </a:rPr>
                      <m:t>WMI</m:t>
                    </m:r>
                  </m:oMath>
                </a14:m>
                <a:r>
                  <a:rPr lang="en-US" sz="1200" noProof="1"/>
                  <a:t> to </a:t>
                </a:r>
                <a:r>
                  <a:rPr lang="en-US" sz="1200" b="1" noProof="1"/>
                  <a:t>include</a:t>
                </a:r>
                <a:r>
                  <a:rPr lang="en-US" sz="1200" noProof="1"/>
                  <a:t> </a:t>
                </a:r>
                <a:r>
                  <a:rPr lang="en-US" sz="1200" b="1" noProof="1"/>
                  <a:t>traffic</a:t>
                </a:r>
                <a:r>
                  <a:rPr lang="en-US" sz="1200" noProof="1"/>
                  <a:t> and </a:t>
                </a:r>
                <a:r>
                  <a:rPr lang="en-US" sz="1200" b="1" noProof="1"/>
                  <a:t>weather</a:t>
                </a:r>
                <a:r>
                  <a:rPr lang="en-US" sz="1200" noProof="1"/>
                  <a:t> </a:t>
                </a:r>
                <a:r>
                  <a:rPr lang="en-US" sz="1200" b="1" noProof="1"/>
                  <a:t>information</a:t>
                </a:r>
                <a:r>
                  <a:rPr lang="en-US" sz="1200" noProof="1"/>
                  <a:t> into the </a:t>
                </a:r>
                <a:r>
                  <a:rPr lang="en-US" sz="1200" b="1" noProof="1"/>
                  <a:t>route</a:t>
                </a:r>
                <a:r>
                  <a:rPr lang="en-US" sz="1200" noProof="1"/>
                  <a:t> </a:t>
                </a:r>
                <a:r>
                  <a:rPr lang="en-US" sz="1200" b="1" noProof="1"/>
                  <a:t>time</a:t>
                </a:r>
                <a:r>
                  <a:rPr lang="en-US" sz="1200" noProof="1"/>
                  <a:t> estimation.</a:t>
                </a:r>
              </a:p>
              <a:p>
                <a:pPr marL="261938" indent="-175022">
                  <a:spcAft>
                    <a:spcPts val="6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200" b="0" i="1" noProof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en-US" sz="1200" b="0" i="0" noProof="1" smtClean="0">
                              <a:latin typeface="Cambria Math" panose="02040503050406030204" pitchFamily="18" charset="0"/>
                            </a:rPr>
                            <m:t>DRT</m:t>
                          </m:r>
                        </m:e>
                        <m:sub>
                          <m:r>
                            <a:rPr lang="en-US" sz="1200" b="0" i="1" noProof="1" smtClean="0">
                              <a:latin typeface="Cambria Math" panose="02040503050406030204" pitchFamily="18" charset="0"/>
                            </a:rPr>
                            <m:t>𝛽</m:t>
                          </m:r>
                        </m:sub>
                      </m:sSub>
                      <m:r>
                        <a:rPr lang="it-IT" sz="1200" b="0" i="1" noProof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it-IT" sz="1200" b="0" i="1" noProof="1" smtClean="0">
                          <a:latin typeface="Cambria Math" panose="02040503050406030204" pitchFamily="18" charset="0"/>
                        </a:rPr>
                        <m:t>𝑓</m:t>
                      </m:r>
                      <m:d>
                        <m:dPr>
                          <m:ctrlPr>
                            <a:rPr lang="it-IT" sz="1200" b="0" i="1" noProof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m:rPr>
                              <m:sty m:val="p"/>
                            </m:rPr>
                            <a:rPr lang="it-IT" sz="1200" b="0" i="0" noProof="1" smtClean="0">
                              <a:latin typeface="Cambria Math" panose="02040503050406030204" pitchFamily="18" charset="0"/>
                            </a:rPr>
                            <m:t>R</m:t>
                          </m:r>
                          <m:sSub>
                            <m:sSubPr>
                              <m:ctrlPr>
                                <a:rPr lang="en-US" sz="1200" b="0" i="1" noProof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m:rPr>
                                  <m:sty m:val="p"/>
                                </m:rPr>
                                <a:rPr lang="it-IT" sz="1200" b="0" i="0" noProof="1" smtClean="0">
                                  <a:latin typeface="Cambria Math" panose="02040503050406030204" pitchFamily="18" charset="0"/>
                                </a:rPr>
                                <m:t>T</m:t>
                              </m:r>
                            </m:e>
                            <m:sub>
                              <m:r>
                                <a:rPr lang="en-US" sz="1200" b="0" i="1" noProof="1" smtClean="0">
                                  <a:latin typeface="Cambria Math" panose="02040503050406030204" pitchFamily="18" charset="0"/>
                                </a:rPr>
                                <m:t>𝛽</m:t>
                              </m:r>
                            </m:sub>
                          </m:sSub>
                          <m:r>
                            <a:rPr lang="it-IT" sz="1200" b="0" i="1" noProof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m:rPr>
                              <m:sty m:val="p"/>
                            </m:rPr>
                            <a:rPr lang="it-IT" sz="1200" b="0" i="0" noProof="1" smtClean="0">
                              <a:latin typeface="Cambria Math" panose="02040503050406030204" pitchFamily="18" charset="0"/>
                            </a:rPr>
                            <m:t>TMI</m:t>
                          </m:r>
                          <m:r>
                            <a:rPr lang="it-IT" sz="1200" b="0" i="1" noProof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m:rPr>
                              <m:sty m:val="p"/>
                            </m:rPr>
                            <a:rPr lang="it-IT" sz="1200" b="0" i="0" noProof="1" smtClean="0">
                              <a:latin typeface="Cambria Math" panose="02040503050406030204" pitchFamily="18" charset="0"/>
                            </a:rPr>
                            <m:t>WMI</m:t>
                          </m:r>
                        </m:e>
                      </m:d>
                    </m:oMath>
                  </m:oMathPara>
                </a14:m>
                <a:endParaRPr lang="en-US" sz="1200" b="0" i="1" noProof="1">
                  <a:latin typeface="Cambria Math" panose="02040503050406030204" pitchFamily="18" charset="0"/>
                </a:endParaRPr>
              </a:p>
              <a:p>
                <a:pPr marL="261938" indent="-175022">
                  <a:spcAft>
                    <a:spcPts val="6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en-US" sz="1200" b="0" i="0" noProof="1" smtClean="0">
                          <a:latin typeface="Cambria Math" panose="02040503050406030204" pitchFamily="18" charset="0"/>
                        </a:rPr>
                        <m:t>D</m:t>
                      </m:r>
                      <m:r>
                        <m:rPr>
                          <m:sty m:val="p"/>
                        </m:rPr>
                        <a:rPr lang="en-US" sz="1200" noProof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R</m:t>
                      </m:r>
                      <m:sSub>
                        <m:sSubPr>
                          <m:ctrlPr>
                            <a:rPr lang="en-US" sz="1200" i="1" noProof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en-US" sz="1200" noProof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T</m:t>
                          </m:r>
                        </m:e>
                        <m:sub>
                          <m:r>
                            <a:rPr lang="en-US" sz="1200" i="1" noProof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𝛽</m:t>
                          </m:r>
                        </m:sub>
                      </m:sSub>
                      <m:r>
                        <a:rPr lang="en-US" sz="1200" i="1" noProof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  <m:d>
                        <m:dPr>
                          <m:ctrlPr>
                            <a:rPr lang="en-US" sz="1200" i="1" noProof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m:rPr>
                              <m:sty m:val="p"/>
                            </m:rPr>
                            <a:rPr lang="en-US" sz="1200" b="0" i="1" noProof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D</m:t>
                          </m:r>
                          <m:r>
                            <m:rPr>
                              <m:sty m:val="p"/>
                            </m:rPr>
                            <a:rPr lang="en-US" sz="1200" i="1" noProof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R</m:t>
                          </m:r>
                          <m:sSup>
                            <m:sSupPr>
                              <m:ctrlPr>
                                <a:rPr lang="en-US" sz="1200" i="1" noProof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m:rPr>
                                  <m:sty m:val="p"/>
                                </m:rPr>
                                <a:rPr lang="en-US" sz="1200" noProof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T</m:t>
                              </m:r>
                            </m:e>
                            <m:sup>
                              <m:r>
                                <a:rPr lang="en-US" sz="1200" i="1" noProof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𝑙</m:t>
                              </m:r>
                            </m:sup>
                          </m:sSup>
                          <m:r>
                            <a:rPr lang="en-US" sz="1200" i="1" noProof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m:rPr>
                              <m:sty m:val="p"/>
                            </m:rPr>
                            <a:rPr lang="en-US" sz="1200" b="0" i="1" noProof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D</m:t>
                          </m:r>
                          <m:r>
                            <m:rPr>
                              <m:sty m:val="p"/>
                            </m:rPr>
                            <a:rPr lang="en-US" sz="1200" i="1" noProof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R</m:t>
                          </m:r>
                          <m:sSup>
                            <m:sSupPr>
                              <m:ctrlPr>
                                <a:rPr lang="en-US" sz="1200" i="1" noProof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m:rPr>
                                  <m:sty m:val="p"/>
                                </m:rPr>
                                <a:rPr lang="en-US" sz="1200" noProof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T</m:t>
                              </m:r>
                            </m:e>
                            <m:sup>
                              <m:r>
                                <a:rPr lang="en-US" sz="1200" i="1" noProof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</m:t>
                              </m:r>
                            </m:sup>
                          </m:sSup>
                        </m:e>
                      </m:d>
                    </m:oMath>
                  </m:oMathPara>
                </a14:m>
                <a:endParaRPr lang="en-US" sz="1200" noProof="1"/>
              </a:p>
              <a:p>
                <a:pPr marL="261938" indent="-175022">
                  <a:spcAft>
                    <a:spcPts val="600"/>
                  </a:spcAft>
                </a:pPr>
                <a:endParaRPr lang="en-US" sz="1200" noProof="1"/>
              </a:p>
              <a:p>
                <a:pPr marL="261938" indent="-175022">
                  <a:spcAft>
                    <a:spcPts val="600"/>
                  </a:spcAft>
                </a:pPr>
                <a:endParaRPr lang="it-IT" sz="1200" b="0" i="1" noProof="1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</p:txBody>
          </p:sp>
        </mc:Choice>
        <mc:Fallback>
          <p:sp>
            <p:nvSpPr>
              <p:cNvPr id="6" name="Google Shape;703;p114">
                <a:extLst>
                  <a:ext uri="{FF2B5EF4-FFF2-40B4-BE49-F238E27FC236}">
                    <a16:creationId xmlns:a16="http://schemas.microsoft.com/office/drawing/2014/main" id="{5FA68857-FBCE-7EE8-E18B-9FAE165080E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>
                <p:custDataLst>
                  <p:tags r:id="rId4"/>
                </p:custDataLst>
              </p:nvPr>
            </p:nvSpPr>
            <p:spPr>
              <a:xfrm>
                <a:off x="342900" y="1586050"/>
                <a:ext cx="5298619" cy="3234229"/>
              </a:xfrm>
              <a:prstGeom prst="rect">
                <a:avLst/>
              </a:prstGeom>
              <a:blipFill>
                <a:blip r:embed="rId11"/>
                <a:stretch>
                  <a:fillRect r="-230"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D12EC273-CA35-F940-588D-B4DD78E16122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342900" y="255537"/>
            <a:ext cx="8455819" cy="155515"/>
          </a:xfrm>
          <a:prstGeom prst="rect">
            <a:avLst/>
          </a:prstGeom>
        </p:spPr>
        <p:txBody>
          <a:bodyPr vert="horz" lIns="0" tIns="0" rIns="68580" bIns="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000" cap="all" noProof="1">
                <a:solidFill>
                  <a:schemeClr val="accent1"/>
                </a:solidFill>
                <a:latin typeface="Aptos" panose="020B0004020202020204" pitchFamily="34" charset="0"/>
              </a:rPr>
              <a:t>Realtime Indicators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56DB07EB-25B3-347F-642A-66FADFFE4712}"/>
              </a:ext>
            </a:extLst>
          </p:cNvPr>
          <p:cNvSpPr>
            <a:spLocks noGrp="1"/>
          </p:cNvSpPr>
          <p:nvPr>
            <p:ph type="body" sz="quarter" idx="15"/>
            <p:custDataLst>
              <p:tags r:id="rId6"/>
            </p:custDataLst>
          </p:nvPr>
        </p:nvSpPr>
        <p:spPr>
          <a:xfrm>
            <a:off x="5915892" y="1"/>
            <a:ext cx="3228108" cy="5143500"/>
          </a:xfrm>
          <a:solidFill>
            <a:schemeClr val="bg2"/>
          </a:solidFill>
        </p:spPr>
        <p:txBody>
          <a:bodyPr lIns="342900" tIns="68580" rIns="274320" bIns="6858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0000"/>
              </a:lnSpc>
              <a:spcBef>
                <a:spcPts val="500"/>
              </a:spcBef>
            </a:pPr>
            <a:r>
              <a:rPr lang="en-US" sz="1400" b="1" dirty="0">
                <a:solidFill>
                  <a:srgbClr val="125E4B"/>
                </a:solidFill>
              </a:rPr>
              <a:t>Realtime indicators</a:t>
            </a:r>
            <a:r>
              <a:rPr lang="en-US" sz="1400" dirty="0">
                <a:solidFill>
                  <a:srgbClr val="125E4B"/>
                </a:solidFill>
              </a:rPr>
              <a:t> are statistical measures that provide actionable insights into the current state of the </a:t>
            </a:r>
            <a:r>
              <a:rPr lang="en-US" sz="1400" b="1" dirty="0">
                <a:solidFill>
                  <a:srgbClr val="125E4B"/>
                </a:solidFill>
              </a:rPr>
              <a:t>supply chain. </a:t>
            </a:r>
          </a:p>
          <a:p>
            <a:pPr>
              <a:lnSpc>
                <a:spcPct val="110000"/>
              </a:lnSpc>
              <a:spcBef>
                <a:spcPts val="500"/>
              </a:spcBef>
            </a:pPr>
            <a:r>
              <a:rPr lang="en-US" sz="1400" dirty="0">
                <a:solidFill>
                  <a:srgbClr val="125E4B"/>
                </a:solidFill>
              </a:rPr>
              <a:t>Organized</a:t>
            </a:r>
            <a:r>
              <a:rPr lang="en-US" sz="1400" b="1" dirty="0">
                <a:solidFill>
                  <a:srgbClr val="125E4B"/>
                </a:solidFill>
              </a:rPr>
              <a:t> hierarchically</a:t>
            </a:r>
            <a:r>
              <a:rPr lang="en-US" sz="1400" dirty="0">
                <a:solidFill>
                  <a:srgbClr val="125E4B"/>
                </a:solidFill>
              </a:rPr>
              <a:t> at different </a:t>
            </a:r>
            <a:r>
              <a:rPr lang="en-US" sz="1400" b="1" dirty="0">
                <a:solidFill>
                  <a:srgbClr val="125E4B"/>
                </a:solidFill>
              </a:rPr>
              <a:t>granularity levels</a:t>
            </a:r>
            <a:r>
              <a:rPr lang="en-US" sz="1400" dirty="0">
                <a:solidFill>
                  <a:srgbClr val="125E4B"/>
                </a:solidFill>
              </a:rPr>
              <a:t>, they combine:</a:t>
            </a:r>
          </a:p>
          <a:p>
            <a:pPr marL="285750" indent="-285750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125E4B"/>
                </a:solidFill>
              </a:rPr>
              <a:t>Historical indicators.</a:t>
            </a:r>
          </a:p>
          <a:p>
            <a:pPr marL="285750" indent="-285750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125E4B"/>
                </a:solidFill>
              </a:rPr>
              <a:t>Supply chain graph.</a:t>
            </a:r>
          </a:p>
          <a:p>
            <a:pPr marL="285750" indent="-285750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125E4B"/>
                </a:solidFill>
              </a:rPr>
              <a:t>Real-time data.</a:t>
            </a:r>
          </a:p>
          <a:p>
            <a:pPr marL="285750" indent="-285750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125E4B"/>
                </a:solidFill>
              </a:rPr>
              <a:t>Realtime indicators from lower levels.</a:t>
            </a:r>
          </a:p>
        </p:txBody>
      </p:sp>
      <p:sp>
        <p:nvSpPr>
          <p:cNvPr id="4" name="Google Shape;10527;p9415">
            <a:extLst>
              <a:ext uri="{FF2B5EF4-FFF2-40B4-BE49-F238E27FC236}">
                <a16:creationId xmlns:a16="http://schemas.microsoft.com/office/drawing/2014/main" id="{E35A99AA-AFF0-9CF3-209C-94559F05E7C2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342898" y="997839"/>
            <a:ext cx="5298621" cy="30028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68580" tIns="34290" rIns="68580" bIns="34290" anchor="ctr" anchorCtr="0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ts val="1100"/>
            </a:pPr>
            <a:r>
              <a:rPr lang="en-US" sz="1400" noProof="1">
                <a:solidFill>
                  <a:schemeClr val="bg1"/>
                </a:solidFill>
                <a:latin typeface="+mj-lt"/>
              </a:rPr>
              <a:t>Route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2661018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BA04A2D-A252-39F2-0F88-D950635F0ED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EEA40D0A-2B4E-00F6-A7D2-DC59E5FC5AE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1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7772400" imgH="10058400" progId="TCLayout.ActiveDocument.1">
                  <p:embed/>
                </p:oleObj>
              </mc:Choice>
              <mc:Fallback>
                <p:oleObj name="think-cell Slide" r:id="rId9" imgW="7772400" imgH="10058400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EA40D0A-2B4E-00F6-A7D2-DC59E5FC5A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2" y="1191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5B300089-B254-D1C6-A8DB-9F5ACF1A2CC7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342900" y="411480"/>
            <a:ext cx="5629275" cy="588212"/>
          </a:xfrm>
        </p:spPr>
        <p:txBody>
          <a:bodyPr vert="horz" lIns="0" tIns="68580" rIns="0" bIns="34290" rtlCol="0" anchor="t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noProof="1"/>
              <a:t>Realtime Indicators Definition (4)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6" name="Google Shape;703;p114">
                <a:extLst>
                  <a:ext uri="{FF2B5EF4-FFF2-40B4-BE49-F238E27FC236}">
                    <a16:creationId xmlns:a16="http://schemas.microsoft.com/office/drawing/2014/main" id="{3ED8BB6C-BE9B-E0A4-473D-B2F18E521DEA}"/>
                  </a:ext>
                </a:extLst>
              </p:cNvPr>
              <p:cNvSpPr txBox="1"/>
              <p:nvPr>
                <p:custDataLst>
                  <p:tags r:id="rId4"/>
                </p:custDataLst>
              </p:nvPr>
            </p:nvSpPr>
            <p:spPr>
              <a:xfrm>
                <a:off x="342900" y="1586051"/>
                <a:ext cx="5298619" cy="3107013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68580" tIns="68580" rIns="68580" bIns="0" anchor="t" anchorCtr="0">
                <a:noAutofit/>
              </a:bodyPr>
              <a:lstStyle>
                <a:defPPr>
                  <a:defRPr lang="en-US"/>
                </a:defPPr>
                <a:lvl1pPr marL="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9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8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7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6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5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4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3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2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261938" indent="-175022">
                  <a:spcAft>
                    <a:spcPts val="600"/>
                  </a:spcAft>
                </a:pPr>
                <a:r>
                  <a:rPr lang="en-US" sz="1200" b="1" noProof="1"/>
                  <a:t>Transit Time </a:t>
                </a:r>
                <a:r>
                  <a:rPr lang="en-US" sz="1200" noProof="1"/>
                  <a:t>(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US" sz="1200" b="0" i="0" noProof="1" smtClean="0">
                        <a:latin typeface="Cambria Math" panose="02040503050406030204" pitchFamily="18" charset="0"/>
                      </a:rPr>
                      <m:t>T</m:t>
                    </m:r>
                    <m:sSub>
                      <m:sSubPr>
                        <m:ctrlPr>
                          <a:rPr lang="en-US" sz="1200" i="1" noProof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sz="1200" b="0" i="0" noProof="1" smtClean="0">
                            <a:latin typeface="Cambria Math" panose="02040503050406030204" pitchFamily="18" charset="0"/>
                          </a:rPr>
                          <m:t>T</m:t>
                        </m:r>
                      </m:e>
                      <m:sub>
                        <m:r>
                          <a:rPr lang="en-US" sz="1200" b="0" i="1" noProof="1" smtClean="0">
                            <a:latin typeface="Cambria Math" panose="02040503050406030204" pitchFamily="18" charset="0"/>
                          </a:rPr>
                          <m:t>𝛽</m:t>
                        </m:r>
                      </m:sub>
                    </m:sSub>
                  </m:oMath>
                </a14:m>
                <a:r>
                  <a:rPr lang="en-US" sz="1200" noProof="1"/>
                  <a:t>): 					Interval</a:t>
                </a:r>
              </a:p>
              <a:p>
                <a:pPr marL="261938" indent="-175022">
                  <a:spcAft>
                    <a:spcPts val="600"/>
                  </a:spcAft>
                  <a:buFont typeface="Arial" panose="020B0604020202020204" pitchFamily="34" charset="0"/>
                  <a:buChar char="•"/>
                </a:pPr>
                <a:r>
                  <a:rPr lang="en-US" sz="1200" noProof="1"/>
                  <a:t>Based on the </a:t>
                </a:r>
                <a:r>
                  <a:rPr lang="en-US" sz="1200" b="1" noProof="1"/>
                  <a:t>ST historical indicator</a:t>
                </a:r>
                <a:r>
                  <a:rPr lang="en-US" sz="1200" noProof="1"/>
                  <a:t>.</a:t>
                </a:r>
              </a:p>
              <a:p>
                <a:pPr marL="261938" indent="-175022">
                  <a:spcAft>
                    <a:spcPts val="600"/>
                  </a:spcAft>
                  <a:buFont typeface="Arial" panose="020B0604020202020204" pitchFamily="34" charset="0"/>
                  <a:buChar char="•"/>
                </a:pPr>
                <a:r>
                  <a:rPr lang="en-US" sz="1200" noProof="1"/>
                  <a:t>Provides a </a:t>
                </a:r>
                <a:r>
                  <a:rPr lang="el-GR" sz="1200" b="1" noProof="1"/>
                  <a:t>β</a:t>
                </a:r>
                <a:r>
                  <a:rPr lang="en-US" sz="1200" b="1" noProof="1"/>
                  <a:t>-level confidence interval </a:t>
                </a:r>
                <a:r>
                  <a:rPr lang="en-US" sz="1200" noProof="1"/>
                  <a:t>of the of the </a:t>
                </a:r>
                <a:r>
                  <a:rPr lang="en-US" sz="1200" b="1" noProof="1"/>
                  <a:t>remaining</a:t>
                </a:r>
                <a:r>
                  <a:rPr lang="en-US" sz="1200" noProof="1"/>
                  <a:t> </a:t>
                </a:r>
                <a:r>
                  <a:rPr lang="en-US" sz="1200" b="1" noProof="1"/>
                  <a:t>shipment</a:t>
                </a:r>
                <a:r>
                  <a:rPr lang="en-US" sz="1200" noProof="1"/>
                  <a:t> </a:t>
                </a:r>
                <a:r>
                  <a:rPr lang="en-US" sz="1200" b="1" noProof="1"/>
                  <a:t>time</a:t>
                </a:r>
                <a:r>
                  <a:rPr lang="en-US" sz="1200" noProof="1"/>
                  <a:t> without considering the graph structure.</a:t>
                </a:r>
              </a:p>
              <a:p>
                <a:pPr marL="261938" indent="-175022">
                  <a:spcAft>
                    <a:spcPts val="6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it-IT" sz="1200" i="0" noProof="1" smtClean="0">
                          <a:latin typeface="Cambria Math" panose="02040503050406030204" pitchFamily="18" charset="0"/>
                        </a:rPr>
                        <m:t>T</m:t>
                      </m:r>
                      <m:sSub>
                        <m:sSubPr>
                          <m:ctrlPr>
                            <a:rPr lang="en-US" sz="1200" b="0" i="1" noProof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it-IT" sz="1200" i="0" noProof="1">
                              <a:latin typeface="Cambria Math" panose="02040503050406030204" pitchFamily="18" charset="0"/>
                            </a:rPr>
                            <m:t>T</m:t>
                          </m:r>
                        </m:e>
                        <m:sub>
                          <m:r>
                            <a:rPr lang="en-US" sz="1200" b="0" i="1" noProof="1" smtClean="0">
                              <a:latin typeface="Cambria Math" panose="02040503050406030204" pitchFamily="18" charset="0"/>
                            </a:rPr>
                            <m:t>𝛽</m:t>
                          </m:r>
                        </m:sub>
                      </m:sSub>
                      <m:r>
                        <a:rPr lang="it-IT" sz="1200" i="1" noProof="1">
                          <a:latin typeface="Cambria Math" panose="02040503050406030204" pitchFamily="18" charset="0"/>
                        </a:rPr>
                        <m:t>:</m:t>
                      </m:r>
                      <m:r>
                        <a:rPr lang="en-US" sz="1200" b="0" i="1" noProof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it-IT" sz="1200" i="1" noProof="1">
                          <a:latin typeface="Cambria Math" panose="02040503050406030204" pitchFamily="18" charset="0"/>
                        </a:rPr>
                        <m:t>𝑆</m:t>
                      </m:r>
                      <m:r>
                        <a:rPr lang="it-IT" sz="1200" i="1" noProof="1">
                          <a:latin typeface="Cambria Math" panose="02040503050406030204" pitchFamily="18" charset="0"/>
                        </a:rPr>
                        <m:t> ×</m:t>
                      </m:r>
                      <m:r>
                        <a:rPr lang="it-IT" sz="1200" i="1" noProof="1">
                          <a:latin typeface="Cambria Math" panose="02040503050406030204" pitchFamily="18" charset="0"/>
                        </a:rPr>
                        <m:t>𝐶</m:t>
                      </m:r>
                      <m:r>
                        <a:rPr lang="it-IT" sz="1200" b="0" i="1" noProof="1" smtClean="0">
                          <a:latin typeface="Cambria Math" panose="02040503050406030204" pitchFamily="18" charset="0"/>
                        </a:rPr>
                        <m:t> ×</m:t>
                      </m:r>
                      <m:sSub>
                        <m:sSubPr>
                          <m:ctrlPr>
                            <a:rPr lang="it-IT" sz="1200" i="1" noProof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it-IT" sz="1200" i="1" noProof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ℝ</m:t>
                          </m:r>
                        </m:e>
                        <m:sub>
                          <m:r>
                            <a:rPr lang="it-IT" sz="1200" i="1" noProof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</m:sub>
                      </m:sSub>
                      <m:r>
                        <a:rPr lang="it-IT" sz="1200" i="1" noProof="1">
                          <a:latin typeface="Cambria Math" panose="02040503050406030204" pitchFamily="18" charset="0"/>
                        </a:rPr>
                        <m:t>→</m:t>
                      </m:r>
                      <m:sSubSup>
                        <m:sSubSupPr>
                          <m:ctrlPr>
                            <a:rPr lang="it-IT" sz="1200" b="0" i="1" noProof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it-IT" sz="1200" i="1" noProof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ℝ</m:t>
                          </m:r>
                        </m:e>
                        <m:sub>
                          <m:r>
                            <a:rPr lang="it-IT" sz="1200" i="1" noProof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</m:sub>
                        <m:sup>
                          <m:r>
                            <a:rPr lang="it-IT" sz="1200" b="0" i="1" noProof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  <m:r>
                        <a:rPr lang="en-US" sz="1200" b="0" i="1" noProof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,</m:t>
                      </m:r>
                      <m:r>
                        <a:rPr lang="en-US" sz="1200" b="0" i="0" noProof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 </m:t>
                      </m:r>
                      <m:r>
                        <m:rPr>
                          <m:sty m:val="p"/>
                        </m:rPr>
                        <a:rPr lang="it-IT" sz="1200" noProof="1">
                          <a:latin typeface="Cambria Math" panose="02040503050406030204" pitchFamily="18" charset="0"/>
                        </a:rPr>
                        <m:t>T</m:t>
                      </m:r>
                      <m:sSub>
                        <m:sSubPr>
                          <m:ctrlPr>
                            <a:rPr lang="en-US" sz="1200" i="1" noProof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it-IT" sz="1200" noProof="1">
                              <a:latin typeface="Cambria Math" panose="02040503050406030204" pitchFamily="18" charset="0"/>
                            </a:rPr>
                            <m:t>T</m:t>
                          </m:r>
                        </m:e>
                        <m:sub>
                          <m:r>
                            <a:rPr lang="en-US" sz="1200" i="1" noProof="1">
                              <a:latin typeface="Cambria Math" panose="02040503050406030204" pitchFamily="18" charset="0"/>
                            </a:rPr>
                            <m:t>𝛽</m:t>
                          </m:r>
                        </m:sub>
                      </m:sSub>
                      <m:r>
                        <a:rPr lang="en-US" sz="1200" b="0" i="1" noProof="1" smtClean="0">
                          <a:latin typeface="Cambria Math" panose="02040503050406030204" pitchFamily="18" charset="0"/>
                        </a:rPr>
                        <m:t>=(</m:t>
                      </m:r>
                      <m:r>
                        <m:rPr>
                          <m:sty m:val="p"/>
                        </m:rPr>
                        <a:rPr lang="en-US" sz="1200" b="0" i="0" noProof="1" smtClean="0">
                          <a:latin typeface="Cambria Math" panose="02040503050406030204" pitchFamily="18" charset="0"/>
                        </a:rPr>
                        <m:t>T</m:t>
                      </m:r>
                      <m:sSup>
                        <m:sSupPr>
                          <m:ctrlPr>
                            <a:rPr lang="en-US" sz="1200" b="0" i="1" noProof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m:rPr>
                              <m:sty m:val="p"/>
                            </m:rPr>
                            <a:rPr lang="en-US" sz="1200" b="0" i="0" noProof="1" smtClean="0">
                              <a:latin typeface="Cambria Math" panose="02040503050406030204" pitchFamily="18" charset="0"/>
                            </a:rPr>
                            <m:t>T</m:t>
                          </m:r>
                        </m:e>
                        <m:sup>
                          <m:r>
                            <a:rPr lang="en-US" sz="1200" b="0" i="1" noProof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sup>
                      </m:sSup>
                      <m:r>
                        <a:rPr lang="en-US" sz="1200" b="0" i="1" noProof="1" smtClean="0">
                          <a:latin typeface="Cambria Math" panose="02040503050406030204" pitchFamily="18" charset="0"/>
                        </a:rPr>
                        <m:t>,</m:t>
                      </m:r>
                      <m:r>
                        <m:rPr>
                          <m:sty m:val="p"/>
                        </m:rPr>
                        <a:rPr lang="en-US" sz="1200" b="0" i="0" noProof="1" smtClean="0">
                          <a:latin typeface="Cambria Math" panose="02040503050406030204" pitchFamily="18" charset="0"/>
                        </a:rPr>
                        <m:t>T</m:t>
                      </m:r>
                      <m:sSup>
                        <m:sSupPr>
                          <m:ctrlPr>
                            <a:rPr lang="en-US" sz="1200" b="0" i="1" noProof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m:rPr>
                              <m:sty m:val="p"/>
                            </m:rPr>
                            <a:rPr lang="en-US" sz="1200" b="0" i="0" noProof="1" smtClean="0">
                              <a:latin typeface="Cambria Math" panose="02040503050406030204" pitchFamily="18" charset="0"/>
                            </a:rPr>
                            <m:t>T</m:t>
                          </m:r>
                        </m:e>
                        <m:sup>
                          <m:r>
                            <a:rPr lang="en-US" sz="1200" b="0" i="1" noProof="1" smtClean="0">
                              <a:latin typeface="Cambria Math" panose="02040503050406030204" pitchFamily="18" charset="0"/>
                            </a:rPr>
                            <m:t>𝑢</m:t>
                          </m:r>
                        </m:sup>
                      </m:sSup>
                      <m:r>
                        <a:rPr lang="en-US" sz="1200" b="0" i="1" noProof="1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en-US" sz="1200" noProof="1"/>
              </a:p>
              <a:p>
                <a:pPr marL="261938" indent="-175022">
                  <a:spcAft>
                    <a:spcPts val="600"/>
                  </a:spcAft>
                </a:pPr>
                <a:endParaRPr lang="en-US" sz="1200" noProof="1"/>
              </a:p>
              <a:p>
                <a:pPr marL="261938" indent="-175022">
                  <a:spcAft>
                    <a:spcPts val="600"/>
                  </a:spcAft>
                </a:pPr>
                <a:r>
                  <a:rPr lang="en-US" sz="1200" b="1" noProof="1"/>
                  <a:t>Path Time (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US" sz="1200" b="0" i="0" noProof="1" smtClean="0">
                        <a:latin typeface="Cambria Math" panose="02040503050406030204" pitchFamily="18" charset="0"/>
                      </a:rPr>
                      <m:t>P</m:t>
                    </m:r>
                    <m:sSub>
                      <m:sSubPr>
                        <m:ctrlPr>
                          <a:rPr lang="en-US" sz="1200" b="1" i="1" noProof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sz="1200" b="0" i="0" noProof="1" smtClean="0">
                            <a:latin typeface="Cambria Math" panose="02040503050406030204" pitchFamily="18" charset="0"/>
                          </a:rPr>
                          <m:t>T</m:t>
                        </m:r>
                      </m:e>
                      <m:sub>
                        <m:r>
                          <a:rPr lang="en-US" sz="1200" b="0" i="1" noProof="1" smtClean="0">
                            <a:latin typeface="Cambria Math" panose="02040503050406030204" pitchFamily="18" charset="0"/>
                          </a:rPr>
                          <m:t>𝛽</m:t>
                        </m:r>
                      </m:sub>
                    </m:sSub>
                  </m:oMath>
                </a14:m>
                <a:r>
                  <a:rPr lang="en-US" sz="1200" b="1" noProof="1"/>
                  <a:t>)</a:t>
                </a:r>
                <a:r>
                  <a:rPr lang="en-US" sz="1200" noProof="1"/>
                  <a:t>: 					Interval</a:t>
                </a:r>
              </a:p>
              <a:p>
                <a:pPr marL="261938" indent="-175022">
                  <a:spcAft>
                    <a:spcPts val="600"/>
                  </a:spcAft>
                  <a:buFont typeface="Arial" panose="020B0604020202020204" pitchFamily="34" charset="0"/>
                  <a:buChar char="•"/>
                </a:pPr>
                <a:r>
                  <a:rPr lang="en-US" sz="1200" noProof="1"/>
                  <a:t>Combines </a:t>
                </a:r>
                <a:r>
                  <a:rPr lang="en-US" sz="1200" b="1" noProof="1"/>
                  <a:t>vertex</a:t>
                </a:r>
                <a:r>
                  <a:rPr lang="en-US" sz="1200" noProof="1"/>
                  <a:t> and </a:t>
                </a:r>
                <a:r>
                  <a:rPr lang="en-US" sz="1200" b="1" noProof="1"/>
                  <a:t>route</a:t>
                </a:r>
                <a:r>
                  <a:rPr lang="en-US" sz="1200" noProof="1"/>
                  <a:t> </a:t>
                </a:r>
                <a:r>
                  <a:rPr lang="en-US" sz="1200" b="1" noProof="1"/>
                  <a:t>time intervals</a:t>
                </a:r>
                <a:r>
                  <a:rPr lang="en-US" sz="1200" noProof="1"/>
                  <a:t> at </a:t>
                </a:r>
                <a:r>
                  <a:rPr lang="el-GR" sz="1200" b="1" noProof="1"/>
                  <a:t>β</a:t>
                </a:r>
                <a:r>
                  <a:rPr lang="en-US" sz="1200" b="1" noProof="1"/>
                  <a:t>-level confidence </a:t>
                </a:r>
                <a:r>
                  <a:rPr lang="en-US" sz="1200" noProof="1"/>
                  <a:t>to estimate the remaining shipment time along a path </a:t>
                </a:r>
                <a14:m>
                  <m:oMath xmlns:m="http://schemas.openxmlformats.org/officeDocument/2006/math">
                    <m:r>
                      <a:rPr lang="it-IT" sz="1200" b="0" i="1" noProof="1" smtClean="0">
                        <a:latin typeface="Cambria Math" panose="02040503050406030204" pitchFamily="18" charset="0"/>
                      </a:rPr>
                      <m:t>𝜋</m:t>
                    </m:r>
                    <m:r>
                      <a:rPr lang="it-IT" sz="1200" b="0" i="1" noProof="1" smtClean="0">
                        <a:latin typeface="Cambria Math" panose="02040503050406030204" pitchFamily="18" charset="0"/>
                      </a:rPr>
                      <m:t>=</m:t>
                    </m:r>
                    <m:d>
                      <m:dPr>
                        <m:ctrlPr>
                          <a:rPr lang="it-IT" sz="1200" b="0" i="1" noProof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it-IT" sz="1200" b="0" i="1" noProof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it-IT" sz="1200" b="0" i="1" noProof="1" smtClean="0">
                                <a:latin typeface="Cambria Math" panose="02040503050406030204" pitchFamily="18" charset="0"/>
                              </a:rPr>
                              <m:t>𝑣</m:t>
                            </m:r>
                          </m:e>
                          <m:sub>
                            <m:r>
                              <a:rPr lang="it-IT" sz="1200" b="0" i="1" noProof="1" smtClean="0"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  <m:r>
                          <a:rPr lang="it-IT" sz="1200" b="0" i="1" noProof="1" smtClean="0">
                            <a:latin typeface="Cambria Math" panose="02040503050406030204" pitchFamily="18" charset="0"/>
                          </a:rPr>
                          <m:t>,</m:t>
                        </m:r>
                        <m:sSub>
                          <m:sSubPr>
                            <m:ctrlPr>
                              <a:rPr lang="it-IT" sz="1200" b="0" i="1" noProof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it-IT" sz="1200" b="0" i="1" noProof="1" smtClean="0">
                                <a:latin typeface="Cambria Math" panose="02040503050406030204" pitchFamily="18" charset="0"/>
                              </a:rPr>
                              <m:t>𝑣</m:t>
                            </m:r>
                          </m:e>
                          <m:sub>
                            <m:r>
                              <a:rPr lang="it-IT" sz="1200" b="0" i="1" noProof="1" smtClean="0"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</m:sSub>
                        <m:r>
                          <a:rPr lang="it-IT" sz="1200" b="0" i="1" noProof="1" smtClean="0">
                            <a:latin typeface="Cambria Math" panose="02040503050406030204" pitchFamily="18" charset="0"/>
                          </a:rPr>
                          <m:t>,…,</m:t>
                        </m:r>
                        <m:sSub>
                          <m:sSubPr>
                            <m:ctrlPr>
                              <a:rPr lang="it-IT" sz="1200" b="0" i="1" noProof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it-IT" sz="1200" b="0" i="1" noProof="1" smtClean="0">
                                <a:latin typeface="Cambria Math" panose="02040503050406030204" pitchFamily="18" charset="0"/>
                              </a:rPr>
                              <m:t>𝑣</m:t>
                            </m:r>
                          </m:e>
                          <m:sub>
                            <m:r>
                              <a:rPr lang="it-IT" sz="1200" b="0" i="1" noProof="1" smtClean="0">
                                <a:latin typeface="Cambria Math" panose="02040503050406030204" pitchFamily="18" charset="0"/>
                              </a:rPr>
                              <m:t>𝑘</m:t>
                            </m:r>
                          </m:sub>
                        </m:sSub>
                        <m:r>
                          <a:rPr lang="it-IT" sz="1200" b="0" i="1" noProof="1" smtClean="0">
                            <a:latin typeface="Cambria Math" panose="02040503050406030204" pitchFamily="18" charset="0"/>
                          </a:rPr>
                          <m:t>=</m:t>
                        </m:r>
                        <m:r>
                          <a:rPr lang="it-IT" sz="1200" b="0" i="1" noProof="1" smtClean="0">
                            <a:latin typeface="Cambria Math" panose="02040503050406030204" pitchFamily="18" charset="0"/>
                          </a:rPr>
                          <m:t>𝑚</m:t>
                        </m:r>
                      </m:e>
                    </m:d>
                  </m:oMath>
                </a14:m>
                <a:r>
                  <a:rPr lang="en-US" sz="1200" noProof="1"/>
                  <a:t>.</a:t>
                </a:r>
              </a:p>
              <a:p>
                <a:pPr marL="261938" indent="-175022">
                  <a:spcAft>
                    <a:spcPts val="6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en-US" sz="1200" i="1" noProof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P</m:t>
                      </m:r>
                      <m:sSub>
                        <m:sSubPr>
                          <m:ctrlPr>
                            <a:rPr lang="en-US" sz="1200" i="1" noProof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it-IT" sz="1200" noProof="1">
                              <a:latin typeface="Cambria Math" panose="02040503050406030204" pitchFamily="18" charset="0"/>
                            </a:rPr>
                            <m:t>T</m:t>
                          </m:r>
                        </m:e>
                        <m:sub>
                          <m:r>
                            <a:rPr lang="en-US" sz="1200" i="1" noProof="1">
                              <a:latin typeface="Cambria Math" panose="02040503050406030204" pitchFamily="18" charset="0"/>
                            </a:rPr>
                            <m:t>𝛽</m:t>
                          </m:r>
                        </m:sub>
                      </m:sSub>
                      <m:r>
                        <a:rPr lang="en-US" sz="1200" b="0" i="1" noProof="1" smtClean="0">
                          <a:latin typeface="Cambria Math" panose="02040503050406030204" pitchFamily="18" charset="0"/>
                        </a:rPr>
                        <m:t>: </m:t>
                      </m:r>
                      <m:sSup>
                        <m:sSupPr>
                          <m:ctrlPr>
                            <a:rPr lang="it-IT" sz="1200" b="0" i="1" noProof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it-IT" sz="1200" b="0" i="1" noProof="1" smtClean="0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p>
                          <m:r>
                            <a:rPr lang="it-IT" sz="1200" b="0" i="1" noProof="1" smtClean="0">
                              <a:latin typeface="Cambria Math" panose="02040503050406030204" pitchFamily="18" charset="0"/>
                            </a:rPr>
                            <m:t>𝑘</m:t>
                          </m:r>
                        </m:sup>
                      </m:sSup>
                      <m:r>
                        <a:rPr lang="it-IT" sz="1200" i="1" noProof="1">
                          <a:latin typeface="Cambria Math" panose="02040503050406030204" pitchFamily="18" charset="0"/>
                        </a:rPr>
                        <m:t>×</m:t>
                      </m:r>
                      <m:sSub>
                        <m:sSubPr>
                          <m:ctrlPr>
                            <a:rPr lang="it-IT" sz="1200" i="1" noProof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it-IT" sz="1200" i="1" noProof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ℝ</m:t>
                          </m:r>
                        </m:e>
                        <m:sub>
                          <m:r>
                            <a:rPr lang="it-IT" sz="1200" i="1" noProof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</m:sub>
                      </m:sSub>
                      <m:r>
                        <a:rPr lang="it-IT" sz="1200" i="1" noProof="1">
                          <a:latin typeface="Cambria Math" panose="02040503050406030204" pitchFamily="18" charset="0"/>
                        </a:rPr>
                        <m:t>→</m:t>
                      </m:r>
                      <m:sSubSup>
                        <m:sSubSupPr>
                          <m:ctrlPr>
                            <a:rPr lang="it-IT" sz="1200" i="1" noProof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it-IT" sz="1200" i="1" noProof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ℝ</m:t>
                          </m:r>
                        </m:e>
                        <m:sub>
                          <m:r>
                            <a:rPr lang="it-IT" sz="1200" i="1" noProof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</m:sub>
                        <m:sup>
                          <m:r>
                            <a:rPr lang="it-IT" sz="1200" i="1" noProof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  <m:r>
                        <a:rPr lang="en-US" sz="1200" b="0" i="1" noProof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,</m:t>
                      </m:r>
                      <m:r>
                        <a:rPr lang="en-US" sz="1200" b="0" i="0" noProof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 </m:t>
                      </m:r>
                      <m:r>
                        <m:rPr>
                          <m:sty m:val="p"/>
                        </m:rPr>
                        <a:rPr lang="en-US" sz="1200" b="0" i="1" noProof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P</m:t>
                      </m:r>
                      <m:sSub>
                        <m:sSubPr>
                          <m:ctrlPr>
                            <a:rPr lang="en-US" sz="1200" i="1" noProof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it-IT" sz="1200" noProof="1">
                              <a:latin typeface="Cambria Math" panose="02040503050406030204" pitchFamily="18" charset="0"/>
                            </a:rPr>
                            <m:t>T</m:t>
                          </m:r>
                        </m:e>
                        <m:sub>
                          <m:r>
                            <a:rPr lang="en-US" sz="1200" i="1" noProof="1">
                              <a:latin typeface="Cambria Math" panose="02040503050406030204" pitchFamily="18" charset="0"/>
                            </a:rPr>
                            <m:t>𝛽</m:t>
                          </m:r>
                        </m:sub>
                      </m:sSub>
                      <m:r>
                        <a:rPr lang="en-US" sz="1200" i="1" noProof="1">
                          <a:latin typeface="Cambria Math" panose="02040503050406030204" pitchFamily="18" charset="0"/>
                        </a:rPr>
                        <m:t>=(</m:t>
                      </m:r>
                      <m:r>
                        <m:rPr>
                          <m:sty m:val="p"/>
                        </m:rPr>
                        <a:rPr lang="en-US" sz="1200" b="0" i="0" noProof="1" smtClean="0">
                          <a:latin typeface="Cambria Math" panose="02040503050406030204" pitchFamily="18" charset="0"/>
                        </a:rPr>
                        <m:t>P</m:t>
                      </m:r>
                      <m:sSup>
                        <m:sSupPr>
                          <m:ctrlPr>
                            <a:rPr lang="en-US" sz="1200" i="1" noProof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m:rPr>
                              <m:sty m:val="p"/>
                            </m:rPr>
                            <a:rPr lang="en-US" sz="1200" noProof="1">
                              <a:latin typeface="Cambria Math" panose="02040503050406030204" pitchFamily="18" charset="0"/>
                            </a:rPr>
                            <m:t>T</m:t>
                          </m:r>
                        </m:e>
                        <m:sup>
                          <m:r>
                            <a:rPr lang="en-US" sz="1200" i="1" noProof="1">
                              <a:latin typeface="Cambria Math" panose="02040503050406030204" pitchFamily="18" charset="0"/>
                            </a:rPr>
                            <m:t>𝑙</m:t>
                          </m:r>
                        </m:sup>
                      </m:sSup>
                      <m:r>
                        <a:rPr lang="en-US" sz="1200" i="1" noProof="1">
                          <a:latin typeface="Cambria Math" panose="02040503050406030204" pitchFamily="18" charset="0"/>
                        </a:rPr>
                        <m:t>,</m:t>
                      </m:r>
                      <m:r>
                        <m:rPr>
                          <m:sty m:val="p"/>
                        </m:rPr>
                        <a:rPr lang="en-US" sz="1200" b="0" i="0" noProof="1" smtClean="0">
                          <a:latin typeface="Cambria Math" panose="02040503050406030204" pitchFamily="18" charset="0"/>
                        </a:rPr>
                        <m:t>P</m:t>
                      </m:r>
                      <m:sSup>
                        <m:sSupPr>
                          <m:ctrlPr>
                            <a:rPr lang="en-US" sz="1200" i="1" noProof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m:rPr>
                              <m:sty m:val="p"/>
                            </m:rPr>
                            <a:rPr lang="en-US" sz="1200" noProof="1">
                              <a:latin typeface="Cambria Math" panose="02040503050406030204" pitchFamily="18" charset="0"/>
                            </a:rPr>
                            <m:t>T</m:t>
                          </m:r>
                        </m:e>
                        <m:sup>
                          <m:r>
                            <a:rPr lang="en-US" sz="1200" i="1" noProof="1">
                              <a:latin typeface="Cambria Math" panose="02040503050406030204" pitchFamily="18" charset="0"/>
                            </a:rPr>
                            <m:t>𝑢</m:t>
                          </m:r>
                        </m:sup>
                      </m:sSup>
                      <m:r>
                        <a:rPr lang="en-US" sz="1200" i="1" noProof="1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en-US" sz="1200" noProof="1"/>
              </a:p>
              <a:p>
                <a:pPr marL="261938" indent="-175022">
                  <a:spcAft>
                    <a:spcPts val="600"/>
                  </a:spcAft>
                </a:pPr>
                <a:endParaRPr lang="en-US" sz="1200" noProof="1"/>
              </a:p>
            </p:txBody>
          </p:sp>
        </mc:Choice>
        <mc:Fallback>
          <p:sp>
            <p:nvSpPr>
              <p:cNvPr id="6" name="Google Shape;703;p114">
                <a:extLst>
                  <a:ext uri="{FF2B5EF4-FFF2-40B4-BE49-F238E27FC236}">
                    <a16:creationId xmlns:a16="http://schemas.microsoft.com/office/drawing/2014/main" id="{3ED8BB6C-BE9B-E0A4-473D-B2F18E521DE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>
                <p:custDataLst>
                  <p:tags r:id="rId4"/>
                </p:custDataLst>
              </p:nvPr>
            </p:nvSpPr>
            <p:spPr>
              <a:xfrm>
                <a:off x="342900" y="1586051"/>
                <a:ext cx="5298619" cy="3107013"/>
              </a:xfrm>
              <a:prstGeom prst="rect">
                <a:avLst/>
              </a:prstGeom>
              <a:blipFill>
                <a:blip r:embed="rId11"/>
                <a:stretch>
                  <a:fillRect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0EFC2760-6E17-7E43-5825-6F55DA0E5B8A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342900" y="255537"/>
            <a:ext cx="8455819" cy="155515"/>
          </a:xfrm>
          <a:prstGeom prst="rect">
            <a:avLst/>
          </a:prstGeom>
        </p:spPr>
        <p:txBody>
          <a:bodyPr vert="horz" lIns="0" tIns="0" rIns="68580" bIns="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000" cap="all" noProof="1">
                <a:solidFill>
                  <a:schemeClr val="accent1"/>
                </a:solidFill>
                <a:latin typeface="Aptos" panose="020B0004020202020204" pitchFamily="34" charset="0"/>
              </a:rPr>
              <a:t>Realtime Indicators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B5B5CB8D-37E4-AFA2-1820-14F3F8DA6ECF}"/>
              </a:ext>
            </a:extLst>
          </p:cNvPr>
          <p:cNvSpPr>
            <a:spLocks noGrp="1"/>
          </p:cNvSpPr>
          <p:nvPr>
            <p:ph type="body" sz="quarter" idx="15"/>
            <p:custDataLst>
              <p:tags r:id="rId6"/>
            </p:custDataLst>
          </p:nvPr>
        </p:nvSpPr>
        <p:spPr>
          <a:xfrm>
            <a:off x="5915892" y="1"/>
            <a:ext cx="3228108" cy="5143500"/>
          </a:xfrm>
          <a:solidFill>
            <a:schemeClr val="bg2"/>
          </a:solidFill>
        </p:spPr>
        <p:txBody>
          <a:bodyPr lIns="342900" tIns="68580" rIns="274320" bIns="6858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0000"/>
              </a:lnSpc>
              <a:spcBef>
                <a:spcPts val="500"/>
              </a:spcBef>
            </a:pPr>
            <a:r>
              <a:rPr lang="en-US" sz="1400" b="1" dirty="0">
                <a:solidFill>
                  <a:srgbClr val="125E4B"/>
                </a:solidFill>
              </a:rPr>
              <a:t>Realtime indicators</a:t>
            </a:r>
            <a:r>
              <a:rPr lang="en-US" sz="1400" dirty="0">
                <a:solidFill>
                  <a:srgbClr val="125E4B"/>
                </a:solidFill>
              </a:rPr>
              <a:t> are statistical measures that provide actionable insights into the current state of the </a:t>
            </a:r>
            <a:r>
              <a:rPr lang="en-US" sz="1400" b="1" dirty="0">
                <a:solidFill>
                  <a:srgbClr val="125E4B"/>
                </a:solidFill>
              </a:rPr>
              <a:t>supply chain. </a:t>
            </a:r>
          </a:p>
          <a:p>
            <a:pPr>
              <a:lnSpc>
                <a:spcPct val="110000"/>
              </a:lnSpc>
              <a:spcBef>
                <a:spcPts val="500"/>
              </a:spcBef>
            </a:pPr>
            <a:r>
              <a:rPr lang="en-US" sz="1400" dirty="0">
                <a:solidFill>
                  <a:srgbClr val="125E4B"/>
                </a:solidFill>
              </a:rPr>
              <a:t>Organized</a:t>
            </a:r>
            <a:r>
              <a:rPr lang="en-US" sz="1400" b="1" dirty="0">
                <a:solidFill>
                  <a:srgbClr val="125E4B"/>
                </a:solidFill>
              </a:rPr>
              <a:t> hierarchically</a:t>
            </a:r>
            <a:r>
              <a:rPr lang="en-US" sz="1400" dirty="0">
                <a:solidFill>
                  <a:srgbClr val="125E4B"/>
                </a:solidFill>
              </a:rPr>
              <a:t> at different </a:t>
            </a:r>
            <a:r>
              <a:rPr lang="en-US" sz="1400" b="1" dirty="0">
                <a:solidFill>
                  <a:srgbClr val="125E4B"/>
                </a:solidFill>
              </a:rPr>
              <a:t>granularity levels</a:t>
            </a:r>
            <a:r>
              <a:rPr lang="en-US" sz="1400" dirty="0">
                <a:solidFill>
                  <a:srgbClr val="125E4B"/>
                </a:solidFill>
              </a:rPr>
              <a:t>, they combine:</a:t>
            </a:r>
          </a:p>
          <a:p>
            <a:pPr marL="285750" indent="-285750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125E4B"/>
                </a:solidFill>
              </a:rPr>
              <a:t>Historical indicators.</a:t>
            </a:r>
          </a:p>
          <a:p>
            <a:pPr marL="285750" indent="-285750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125E4B"/>
                </a:solidFill>
              </a:rPr>
              <a:t>Supply chain graph.</a:t>
            </a:r>
          </a:p>
          <a:p>
            <a:pPr marL="285750" indent="-285750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125E4B"/>
                </a:solidFill>
              </a:rPr>
              <a:t>Real-time data.</a:t>
            </a:r>
          </a:p>
          <a:p>
            <a:pPr marL="285750" indent="-285750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125E4B"/>
                </a:solidFill>
              </a:rPr>
              <a:t>Realtime indicators from lower levels.</a:t>
            </a:r>
          </a:p>
        </p:txBody>
      </p:sp>
      <p:sp>
        <p:nvSpPr>
          <p:cNvPr id="4" name="Google Shape;10527;p9415">
            <a:extLst>
              <a:ext uri="{FF2B5EF4-FFF2-40B4-BE49-F238E27FC236}">
                <a16:creationId xmlns:a16="http://schemas.microsoft.com/office/drawing/2014/main" id="{8DED335E-6F00-4A66-0A36-752FA4280EB5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342898" y="997839"/>
            <a:ext cx="5298621" cy="30028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68580" tIns="34290" rIns="68580" bIns="34290" anchor="ctr" anchorCtr="0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ts val="1100"/>
            </a:pPr>
            <a:r>
              <a:rPr lang="en-US" sz="1400" noProof="1">
                <a:solidFill>
                  <a:schemeClr val="bg1"/>
                </a:solidFill>
                <a:latin typeface="+mj-lt"/>
              </a:rPr>
              <a:t>Pa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5777083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C5E3718-8874-0F67-1714-F0EA9FFA0BC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C71527A0-3F87-B6BB-81D8-32D2E72190D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1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7772400" imgH="10058400" progId="TCLayout.ActiveDocument.1">
                  <p:embed/>
                </p:oleObj>
              </mc:Choice>
              <mc:Fallback>
                <p:oleObj name="think-cell Slide" r:id="rId9" imgW="7772400" imgH="10058400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71527A0-3F87-B6BB-81D8-32D2E72190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2" y="1191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A4337C82-9D6F-2F2C-916F-A88A3BA3C28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342900" y="411480"/>
            <a:ext cx="5629275" cy="588212"/>
          </a:xfrm>
        </p:spPr>
        <p:txBody>
          <a:bodyPr vert="horz" lIns="0" tIns="68580" rIns="0" bIns="34290" rtlCol="0" anchor="t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noProof="1"/>
              <a:t>Realtime Indicators Definition (5)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" name="Google Shape;703;p114">
                <a:extLst>
                  <a:ext uri="{FF2B5EF4-FFF2-40B4-BE49-F238E27FC236}">
                    <a16:creationId xmlns:a16="http://schemas.microsoft.com/office/drawing/2014/main" id="{DD2F7D1A-2257-A70B-70E6-974CADA5BE48}"/>
                  </a:ext>
                </a:extLst>
              </p:cNvPr>
              <p:cNvSpPr txBox="1"/>
              <p:nvPr>
                <p:custDataLst>
                  <p:tags r:id="rId4"/>
                </p:custDataLst>
              </p:nvPr>
            </p:nvSpPr>
            <p:spPr>
              <a:xfrm>
                <a:off x="342900" y="1586050"/>
                <a:ext cx="5298619" cy="3107013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68580" tIns="68580" rIns="68580" bIns="0" anchor="t" anchorCtr="0">
                <a:noAutofit/>
              </a:bodyPr>
              <a:lstStyle>
                <a:defPPr>
                  <a:defRPr lang="en-US"/>
                </a:defPPr>
                <a:lvl1pPr marL="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9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8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7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6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5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4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3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2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261938" indent="-175022">
                  <a:spcAft>
                    <a:spcPts val="600"/>
                  </a:spcAft>
                </a:pPr>
                <a:r>
                  <a:rPr lang="en-US" sz="1200" b="1" noProof="1"/>
                  <a:t>Total Forecasted Shipment Time </a:t>
                </a:r>
                <a:r>
                  <a:rPr lang="en-US" sz="1200" noProof="1"/>
                  <a:t>(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US" sz="1200" b="1" i="1" noProof="1" smtClean="0">
                        <a:latin typeface="Cambria Math" panose="02040503050406030204" pitchFamily="18" charset="0"/>
                      </a:rPr>
                      <m:t>TFST</m:t>
                    </m:r>
                  </m:oMath>
                </a14:m>
                <a:r>
                  <a:rPr lang="en-US" sz="1200" noProof="1"/>
                  <a:t>): 			Interval</a:t>
                </a:r>
              </a:p>
              <a:p>
                <a:pPr marL="261938" indent="-175022">
                  <a:spcAft>
                    <a:spcPts val="600"/>
                  </a:spcAft>
                  <a:buFont typeface="Arial" panose="020B0604020202020204" pitchFamily="34" charset="0"/>
                  <a:buChar char="•"/>
                </a:pPr>
                <a:r>
                  <a:rPr lang="en-US" sz="1200" noProof="1"/>
                  <a:t>Convex combination of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US" sz="1200" b="0" i="0" noProof="1" smtClean="0">
                        <a:latin typeface="Cambria Math" panose="02040503050406030204" pitchFamily="18" charset="0"/>
                      </a:rPr>
                      <m:t>T</m:t>
                    </m:r>
                    <m:sSub>
                      <m:sSubPr>
                        <m:ctrlPr>
                          <a:rPr lang="en-US" sz="1200" b="1" i="1" noProof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sz="1200" noProof="1">
                            <a:latin typeface="Cambria Math" panose="02040503050406030204" pitchFamily="18" charset="0"/>
                          </a:rPr>
                          <m:t>T</m:t>
                        </m:r>
                      </m:e>
                      <m:sub>
                        <m:r>
                          <a:rPr lang="en-US" sz="1200" i="1" noProof="1">
                            <a:latin typeface="Cambria Math" panose="02040503050406030204" pitchFamily="18" charset="0"/>
                          </a:rPr>
                          <m:t>𝛽</m:t>
                        </m:r>
                      </m:sub>
                    </m:sSub>
                    <m:r>
                      <a:rPr lang="en-US" sz="1200" b="1" i="1" noProof="1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US" sz="1200" noProof="1"/>
                  <a:t>and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US" sz="1200" noProof="1">
                        <a:latin typeface="Cambria Math" panose="02040503050406030204" pitchFamily="18" charset="0"/>
                      </a:rPr>
                      <m:t>P</m:t>
                    </m:r>
                    <m:sSub>
                      <m:sSubPr>
                        <m:ctrlPr>
                          <a:rPr lang="en-US" sz="1200" b="1" i="1" noProof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sz="1200" noProof="1">
                            <a:latin typeface="Cambria Math" panose="02040503050406030204" pitchFamily="18" charset="0"/>
                          </a:rPr>
                          <m:t>T</m:t>
                        </m:r>
                      </m:e>
                      <m:sub>
                        <m:r>
                          <a:rPr lang="en-US" sz="1200" i="1" noProof="1">
                            <a:latin typeface="Cambria Math" panose="02040503050406030204" pitchFamily="18" charset="0"/>
                          </a:rPr>
                          <m:t>𝛽</m:t>
                        </m:r>
                      </m:sub>
                    </m:sSub>
                  </m:oMath>
                </a14:m>
                <a:r>
                  <a:rPr lang="en-US" sz="1200" noProof="1"/>
                  <a:t> at confidences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1200" b="0" i="1" noProof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1200" b="0" i="1" noProof="1" smtClean="0">
                            <a:latin typeface="Cambria Math" panose="02040503050406030204" pitchFamily="18" charset="0"/>
                          </a:rPr>
                          <m:t>𝛽</m:t>
                        </m:r>
                      </m:e>
                      <m:sub>
                        <m:r>
                          <a:rPr lang="en-US" sz="1200" b="0" i="1" noProof="1" smtClean="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</m:oMath>
                </a14:m>
                <a:r>
                  <a:rPr lang="en-US" sz="1200" noProof="1"/>
                  <a:t> and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1200" i="1" noProof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1200" i="1" noProof="1">
                            <a:latin typeface="Cambria Math" panose="02040503050406030204" pitchFamily="18" charset="0"/>
                          </a:rPr>
                          <m:t>𝛽</m:t>
                        </m:r>
                      </m:e>
                      <m:sub>
                        <m:r>
                          <a:rPr lang="en-US" sz="1200" b="0" i="1" noProof="1" smtClean="0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</m:oMath>
                </a14:m>
                <a:r>
                  <a:rPr lang="en-US" sz="1200" noProof="1"/>
                  <a:t>. </a:t>
                </a:r>
              </a:p>
              <a:p>
                <a:pPr marL="261938" indent="-175022">
                  <a:spcAft>
                    <a:spcPts val="6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it-IT" sz="1200" b="0" i="0" noProof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TFST</m:t>
                      </m:r>
                      <m:r>
                        <a:rPr lang="it-IT" sz="1200" b="0" i="1" noProof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  <m:r>
                        <a:rPr lang="it-IT" sz="1200" b="0" i="1" noProof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𝛼</m:t>
                      </m:r>
                      <m:r>
                        <a:rPr lang="it-IT" sz="1200" b="0" i="1" noProof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⋅</m:t>
                      </m:r>
                      <m:r>
                        <m:rPr>
                          <m:sty m:val="p"/>
                        </m:rPr>
                        <a:rPr lang="it-IT" sz="1200" b="0" i="0" noProof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T</m:t>
                      </m:r>
                      <m:sSub>
                        <m:sSubPr>
                          <m:ctrlPr>
                            <a:rPr lang="en-US" sz="1200" b="0" i="1" noProof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it-IT" sz="1200" b="0" i="0" noProof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T</m:t>
                          </m:r>
                        </m:e>
                        <m:sub>
                          <m:sSub>
                            <m:sSubPr>
                              <m:ctrlPr>
                                <a:rPr lang="en-US" sz="1200" b="0" i="1" noProof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200" b="0" i="1" noProof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𝛽</m:t>
                              </m:r>
                            </m:e>
                            <m:sub>
                              <m:r>
                                <a:rPr lang="en-US" sz="1200" b="0" i="1" noProof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</m:sub>
                      </m:sSub>
                      <m:r>
                        <a:rPr lang="it-IT" sz="1200" b="0" i="1" noProof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d>
                        <m:dPr>
                          <m:ctrlPr>
                            <a:rPr lang="it-IT" sz="1200" b="0" i="1" noProof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it-IT" sz="1200" b="0" i="1" noProof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−</m:t>
                          </m:r>
                          <m:r>
                            <a:rPr lang="it-IT" sz="1200" b="0" i="1" noProof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𝛼</m:t>
                          </m:r>
                        </m:e>
                      </m:d>
                      <m:r>
                        <a:rPr lang="it-IT" sz="1200" b="0" i="1" noProof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⋅</m:t>
                      </m:r>
                      <m:r>
                        <m:rPr>
                          <m:sty m:val="p"/>
                        </m:rPr>
                        <a:rPr lang="it-IT" sz="1200" b="0" i="0" noProof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P</m:t>
                      </m:r>
                      <m:sSub>
                        <m:sSubPr>
                          <m:ctrlPr>
                            <a:rPr lang="en-US" sz="1200" b="0" i="1" noProof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it-IT" sz="1200" b="0" i="0" noProof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T</m:t>
                          </m:r>
                        </m:e>
                        <m:sub>
                          <m:sSub>
                            <m:sSubPr>
                              <m:ctrlPr>
                                <a:rPr lang="en-US" sz="1200" b="0" i="1" noProof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200" b="0" i="1" noProof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𝛽</m:t>
                              </m:r>
                            </m:e>
                            <m:sub>
                              <m:r>
                                <a:rPr lang="en-US" sz="1200" b="0" i="1" noProof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2</m:t>
                              </m:r>
                            </m:sub>
                          </m:sSub>
                        </m:sub>
                      </m:sSub>
                    </m:oMath>
                  </m:oMathPara>
                </a14:m>
                <a:endParaRPr lang="en-US" sz="1200" b="0" i="1" noProof="1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 marL="261938" indent="-175022">
                  <a:spcAft>
                    <a:spcPts val="6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en-US" sz="1200" b="0" i="1" noProof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TFST</m:t>
                      </m:r>
                      <m:r>
                        <a:rPr lang="en-US" sz="1200" b="0" i="1" noProof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  <m:r>
                        <a:rPr lang="en-US" sz="1200" b="0" i="0" noProof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(</m:t>
                      </m:r>
                      <m:r>
                        <m:rPr>
                          <m:sty m:val="p"/>
                        </m:rPr>
                        <a:rPr lang="en-US" sz="1200" noProof="1">
                          <a:latin typeface="Cambria Math" panose="02040503050406030204" pitchFamily="18" charset="0"/>
                        </a:rPr>
                        <m:t>T</m:t>
                      </m:r>
                      <m:sSup>
                        <m:sSupPr>
                          <m:ctrlPr>
                            <a:rPr lang="en-US" sz="1200" i="1" noProof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m:rPr>
                              <m:sty m:val="p"/>
                            </m:rPr>
                            <a:rPr lang="en-US" sz="1200" b="0" i="0" noProof="1" smtClean="0">
                              <a:latin typeface="Cambria Math" panose="02040503050406030204" pitchFamily="18" charset="0"/>
                            </a:rPr>
                            <m:t>F</m:t>
                          </m:r>
                          <m:r>
                            <m:rPr>
                              <m:sty m:val="p"/>
                            </m:rPr>
                            <a:rPr lang="en-US" sz="1200" b="0" i="1" noProof="1" smtClean="0">
                              <a:latin typeface="Cambria Math" panose="02040503050406030204" pitchFamily="18" charset="0"/>
                            </a:rPr>
                            <m:t>ST</m:t>
                          </m:r>
                        </m:e>
                        <m:sup>
                          <m:r>
                            <a:rPr lang="en-US" sz="1200" i="1" noProof="1">
                              <a:latin typeface="Cambria Math" panose="02040503050406030204" pitchFamily="18" charset="0"/>
                            </a:rPr>
                            <m:t>𝑙</m:t>
                          </m:r>
                        </m:sup>
                      </m:sSup>
                      <m:r>
                        <a:rPr lang="en-US" sz="1200" i="1" noProof="1">
                          <a:latin typeface="Cambria Math" panose="02040503050406030204" pitchFamily="18" charset="0"/>
                        </a:rPr>
                        <m:t>,</m:t>
                      </m:r>
                      <m:r>
                        <m:rPr>
                          <m:sty m:val="p"/>
                        </m:rPr>
                        <a:rPr lang="en-US" sz="1200" noProof="1">
                          <a:latin typeface="Cambria Math" panose="02040503050406030204" pitchFamily="18" charset="0"/>
                        </a:rPr>
                        <m:t>T</m:t>
                      </m:r>
                      <m:sSup>
                        <m:sSupPr>
                          <m:ctrlPr>
                            <a:rPr lang="en-US" sz="1200" i="1" noProof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m:rPr>
                              <m:sty m:val="p"/>
                            </m:rPr>
                            <a:rPr lang="en-US" sz="1200" b="0" i="0" noProof="1" smtClean="0">
                              <a:latin typeface="Cambria Math" panose="02040503050406030204" pitchFamily="18" charset="0"/>
                            </a:rPr>
                            <m:t>FST</m:t>
                          </m:r>
                        </m:e>
                        <m:sup>
                          <m:r>
                            <a:rPr lang="en-US" sz="1200" i="1" noProof="1">
                              <a:latin typeface="Cambria Math" panose="02040503050406030204" pitchFamily="18" charset="0"/>
                            </a:rPr>
                            <m:t>𝑢</m:t>
                          </m:r>
                        </m:sup>
                      </m:sSup>
                      <m:r>
                        <a:rPr lang="en-US" sz="1200" b="0" i="1" noProof="1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it-IT" sz="1200" b="0" i="1" noProof="1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6" name="Google Shape;703;p114">
                <a:extLst>
                  <a:ext uri="{FF2B5EF4-FFF2-40B4-BE49-F238E27FC236}">
                    <a16:creationId xmlns:a16="http://schemas.microsoft.com/office/drawing/2014/main" id="{DD2F7D1A-2257-A70B-70E6-974CADA5BE4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>
                <p:custDataLst>
                  <p:tags r:id="rId11"/>
                </p:custDataLst>
              </p:nvPr>
            </p:nvSpPr>
            <p:spPr>
              <a:xfrm>
                <a:off x="342900" y="1586050"/>
                <a:ext cx="5298619" cy="3107013"/>
              </a:xfrm>
              <a:prstGeom prst="rect">
                <a:avLst/>
              </a:prstGeom>
              <a:blipFill>
                <a:blip r:embed="rId12"/>
                <a:stretch>
                  <a:fillRect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DEDED579-093A-F346-5F09-95381F7D5728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342900" y="255537"/>
            <a:ext cx="8455819" cy="155515"/>
          </a:xfrm>
          <a:prstGeom prst="rect">
            <a:avLst/>
          </a:prstGeom>
        </p:spPr>
        <p:txBody>
          <a:bodyPr vert="horz" lIns="0" tIns="0" rIns="68580" bIns="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000" cap="all" noProof="1">
                <a:solidFill>
                  <a:schemeClr val="accent1"/>
                </a:solidFill>
                <a:latin typeface="Aptos" panose="020B0004020202020204" pitchFamily="34" charset="0"/>
              </a:rPr>
              <a:t>Realtime Indicators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F1D6E4F7-7904-02ED-4AA9-EA32C4DEF3AC}"/>
              </a:ext>
            </a:extLst>
          </p:cNvPr>
          <p:cNvSpPr>
            <a:spLocks noGrp="1"/>
          </p:cNvSpPr>
          <p:nvPr>
            <p:ph type="body" sz="quarter" idx="15"/>
            <p:custDataLst>
              <p:tags r:id="rId6"/>
            </p:custDataLst>
          </p:nvPr>
        </p:nvSpPr>
        <p:spPr>
          <a:xfrm>
            <a:off x="5915892" y="1"/>
            <a:ext cx="3228108" cy="5143500"/>
          </a:xfrm>
          <a:solidFill>
            <a:schemeClr val="bg2"/>
          </a:solidFill>
        </p:spPr>
        <p:txBody>
          <a:bodyPr lIns="342900" tIns="68580" rIns="274320" bIns="6858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0000"/>
              </a:lnSpc>
              <a:spcBef>
                <a:spcPts val="500"/>
              </a:spcBef>
            </a:pPr>
            <a:r>
              <a:rPr lang="en-US" sz="1400" b="1" dirty="0">
                <a:solidFill>
                  <a:srgbClr val="125E4B"/>
                </a:solidFill>
              </a:rPr>
              <a:t>Realtime indicators</a:t>
            </a:r>
            <a:r>
              <a:rPr lang="en-US" sz="1400" dirty="0">
                <a:solidFill>
                  <a:srgbClr val="125E4B"/>
                </a:solidFill>
              </a:rPr>
              <a:t> are statistical measures that provide actionable insights into the current state of the </a:t>
            </a:r>
            <a:r>
              <a:rPr lang="en-US" sz="1400" b="1" dirty="0">
                <a:solidFill>
                  <a:srgbClr val="125E4B"/>
                </a:solidFill>
              </a:rPr>
              <a:t>supply chain. </a:t>
            </a:r>
          </a:p>
          <a:p>
            <a:pPr>
              <a:lnSpc>
                <a:spcPct val="110000"/>
              </a:lnSpc>
              <a:spcBef>
                <a:spcPts val="500"/>
              </a:spcBef>
            </a:pPr>
            <a:r>
              <a:rPr lang="en-US" sz="1400" dirty="0">
                <a:solidFill>
                  <a:srgbClr val="125E4B"/>
                </a:solidFill>
              </a:rPr>
              <a:t>Organized</a:t>
            </a:r>
            <a:r>
              <a:rPr lang="en-US" sz="1400" b="1" dirty="0">
                <a:solidFill>
                  <a:srgbClr val="125E4B"/>
                </a:solidFill>
              </a:rPr>
              <a:t> hierarchically</a:t>
            </a:r>
            <a:r>
              <a:rPr lang="en-US" sz="1400" dirty="0">
                <a:solidFill>
                  <a:srgbClr val="125E4B"/>
                </a:solidFill>
              </a:rPr>
              <a:t> at different </a:t>
            </a:r>
            <a:r>
              <a:rPr lang="en-US" sz="1400" b="1" dirty="0">
                <a:solidFill>
                  <a:srgbClr val="125E4B"/>
                </a:solidFill>
              </a:rPr>
              <a:t>granularity levels</a:t>
            </a:r>
            <a:r>
              <a:rPr lang="en-US" sz="1400" dirty="0">
                <a:solidFill>
                  <a:srgbClr val="125E4B"/>
                </a:solidFill>
              </a:rPr>
              <a:t>, they combine:</a:t>
            </a:r>
          </a:p>
          <a:p>
            <a:pPr marL="285750" indent="-285750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125E4B"/>
                </a:solidFill>
              </a:rPr>
              <a:t>Historical indicators.</a:t>
            </a:r>
          </a:p>
          <a:p>
            <a:pPr marL="285750" indent="-285750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125E4B"/>
                </a:solidFill>
              </a:rPr>
              <a:t>Supply chain graph.</a:t>
            </a:r>
          </a:p>
          <a:p>
            <a:pPr marL="285750" indent="-285750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125E4B"/>
                </a:solidFill>
              </a:rPr>
              <a:t>Real-time data.</a:t>
            </a:r>
          </a:p>
          <a:p>
            <a:pPr marL="285750" indent="-285750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125E4B"/>
                </a:solidFill>
              </a:rPr>
              <a:t>Realtime indicators from lower levels.</a:t>
            </a:r>
          </a:p>
        </p:txBody>
      </p:sp>
      <p:sp>
        <p:nvSpPr>
          <p:cNvPr id="4" name="Google Shape;10527;p9415">
            <a:extLst>
              <a:ext uri="{FF2B5EF4-FFF2-40B4-BE49-F238E27FC236}">
                <a16:creationId xmlns:a16="http://schemas.microsoft.com/office/drawing/2014/main" id="{EBF8158B-5216-611B-B2C4-A1F1E2C9A0E0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342898" y="997839"/>
            <a:ext cx="5298621" cy="30028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68580" tIns="34290" rIns="68580" bIns="34290" anchor="ctr" anchorCtr="0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ts val="1100"/>
            </a:pPr>
            <a:r>
              <a:rPr lang="en-US" sz="1400" noProof="1">
                <a:solidFill>
                  <a:schemeClr val="bg1"/>
                </a:solidFill>
                <a:latin typeface="+mj-lt"/>
              </a:rPr>
              <a:t>Pa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5393996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465046E-627F-2948-DA1E-A849F31ABBB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3D79558B-ABA9-E601-238D-4E162C91D2E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1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7772400" imgH="10058400" progId="TCLayout.ActiveDocument.1">
                  <p:embed/>
                </p:oleObj>
              </mc:Choice>
              <mc:Fallback>
                <p:oleObj name="think-cell Slide" r:id="rId9" imgW="7772400" imgH="10058400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D79558B-ABA9-E601-238D-4E162C91D2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2" y="1191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B1A02F24-03AC-5414-3C41-450B7AF74D6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342900" y="411480"/>
            <a:ext cx="5629275" cy="588212"/>
          </a:xfrm>
        </p:spPr>
        <p:txBody>
          <a:bodyPr vert="horz" lIns="0" tIns="68580" rIns="0" bIns="34290" rtlCol="0" anchor="t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noProof="1"/>
              <a:t>Realtime Indicators Definition (6)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6" name="Google Shape;703;p114">
                <a:extLst>
                  <a:ext uri="{FF2B5EF4-FFF2-40B4-BE49-F238E27FC236}">
                    <a16:creationId xmlns:a16="http://schemas.microsoft.com/office/drawing/2014/main" id="{078BB124-5CFE-4DC8-7C4A-A790AB5BEB52}"/>
                  </a:ext>
                </a:extLst>
              </p:cNvPr>
              <p:cNvSpPr txBox="1"/>
              <p:nvPr>
                <p:custDataLst>
                  <p:tags r:id="rId4"/>
                </p:custDataLst>
              </p:nvPr>
            </p:nvSpPr>
            <p:spPr>
              <a:xfrm>
                <a:off x="342900" y="1564971"/>
                <a:ext cx="5298619" cy="301325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68580" tIns="68580" rIns="68580" bIns="0" anchor="t" anchorCtr="0">
                <a:noAutofit/>
              </a:bodyPr>
              <a:lstStyle>
                <a:defPPr>
                  <a:defRPr lang="en-US"/>
                </a:defPPr>
                <a:lvl1pPr marL="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9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8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7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6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5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4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3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2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261938" indent="-175022">
                  <a:spcAft>
                    <a:spcPts val="600"/>
                  </a:spcAft>
                </a:pPr>
                <a:r>
                  <a:rPr lang="en-US" sz="1200" b="1" noProof="1"/>
                  <a:t>Expected Path Time </a:t>
                </a:r>
                <a:r>
                  <a:rPr lang="en-US" sz="1200" noProof="1"/>
                  <a:t>(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1200" b="1" i="1" noProof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sz="1200" b="1" i="1" noProof="1" smtClean="0">
                            <a:latin typeface="Cambria Math" panose="02040503050406030204" pitchFamily="18" charset="0"/>
                          </a:rPr>
                          <m:t>E</m:t>
                        </m:r>
                        <m:r>
                          <a:rPr lang="en-US" sz="1200" b="1" i="1" noProof="1" smtClean="0">
                            <a:latin typeface="Cambria Math" panose="02040503050406030204" pitchFamily="18" charset="0"/>
                          </a:rPr>
                          <m:t>−</m:t>
                        </m:r>
                        <m:r>
                          <m:rPr>
                            <m:sty m:val="p"/>
                          </m:rPr>
                          <a:rPr lang="en-US" sz="1200" b="1" i="1" noProof="1" smtClean="0">
                            <a:latin typeface="Cambria Math" panose="02040503050406030204" pitchFamily="18" charset="0"/>
                          </a:rPr>
                          <m:t>PT</m:t>
                        </m:r>
                      </m:e>
                      <m:sub>
                        <m:r>
                          <a:rPr lang="en-US" sz="1200" b="0" i="1" noProof="1" smtClean="0">
                            <a:latin typeface="Cambria Math" panose="02040503050406030204" pitchFamily="18" charset="0"/>
                          </a:rPr>
                          <m:t>𝛽</m:t>
                        </m:r>
                      </m:sub>
                    </m:sSub>
                  </m:oMath>
                </a14:m>
                <a:r>
                  <a:rPr lang="en-US" sz="1200" noProof="1"/>
                  <a:t>)</a:t>
                </a:r>
                <a14:m>
                  <m:oMath xmlns:m="http://schemas.openxmlformats.org/officeDocument/2006/math">
                    <m:r>
                      <a:rPr lang="en-US" sz="1200" i="1" noProof="1">
                        <a:latin typeface="Cambria Math" panose="02040503050406030204" pitchFamily="18" charset="0"/>
                      </a:rPr>
                      <m:t>: </m:t>
                    </m:r>
                  </m:oMath>
                </a14:m>
                <a:r>
                  <a:rPr lang="en-US" sz="1200" noProof="1"/>
                  <a:t>				Interval</a:t>
                </a:r>
              </a:p>
              <a:p>
                <a:pPr marL="261938" indent="-175022">
                  <a:spcAft>
                    <a:spcPts val="600"/>
                  </a:spcAft>
                  <a:buFont typeface="Arial" panose="020B0604020202020204" pitchFamily="34" charset="0"/>
                  <a:buChar char="•"/>
                </a:pPr>
                <a:r>
                  <a:rPr lang="en-US" sz="1200" noProof="1"/>
                  <a:t>Combines the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1200" i="1" noProof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sz="1200" b="0" i="1" noProof="1" smtClean="0">
                            <a:latin typeface="Cambria Math" panose="02040503050406030204" pitchFamily="18" charset="0"/>
                          </a:rPr>
                          <m:t>PT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en-US" sz="1200" b="0" i="1" noProof="1" smtClean="0">
                            <a:latin typeface="Cambria Math" panose="02040503050406030204" pitchFamily="18" charset="0"/>
                          </a:rPr>
                          <m:t>β</m:t>
                        </m:r>
                      </m:sub>
                    </m:sSub>
                  </m:oMath>
                </a14:m>
                <a:r>
                  <a:rPr lang="en-US" sz="1200" b="1" noProof="1"/>
                  <a:t> estimations </a:t>
                </a:r>
                <a:r>
                  <a:rPr lang="en-US" sz="1200" noProof="1"/>
                  <a:t>over all the possible </a:t>
                </a:r>
                <a:r>
                  <a:rPr lang="en-US" sz="1200" b="1" noProof="1"/>
                  <a:t>paths</a:t>
                </a:r>
                <a:r>
                  <a:rPr lang="en-US" sz="1200" noProof="1"/>
                  <a:t> </a:t>
                </a:r>
                <a14:m>
                  <m:oMath xmlns:m="http://schemas.openxmlformats.org/officeDocument/2006/math">
                    <m:r>
                      <a:rPr lang="it-IT" sz="1200" b="1" i="1" noProof="1" smtClean="0">
                        <a:latin typeface="Cambria Math" panose="02040503050406030204" pitchFamily="18" charset="0"/>
                      </a:rPr>
                      <m:t>𝝅</m:t>
                    </m:r>
                    <m:r>
                      <a:rPr lang="it-IT" sz="1200" b="0" i="1" noProof="1" smtClean="0">
                        <a:latin typeface="Cambria Math" panose="02040503050406030204" pitchFamily="18" charset="0"/>
                      </a:rPr>
                      <m:t>=(</m:t>
                    </m:r>
                    <m:sSub>
                      <m:sSubPr>
                        <m:ctrlPr>
                          <a:rPr lang="it-IT" sz="1200" b="0" i="1" noProof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it-IT" sz="1200" b="0" i="1" noProof="1" smtClean="0">
                            <a:latin typeface="Cambria Math" panose="02040503050406030204" pitchFamily="18" charset="0"/>
                          </a:rPr>
                          <m:t>𝜋</m:t>
                        </m:r>
                      </m:e>
                      <m:sub>
                        <m:r>
                          <a:rPr lang="it-IT" sz="1200" b="0" i="1" noProof="1" smtClean="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lang="it-IT" sz="1200" b="0" i="1" noProof="1" smtClean="0">
                        <a:latin typeface="Cambria Math" panose="02040503050406030204" pitchFamily="18" charset="0"/>
                      </a:rPr>
                      <m:t>,</m:t>
                    </m:r>
                    <m:sSub>
                      <m:sSubPr>
                        <m:ctrlPr>
                          <a:rPr lang="it-IT" sz="1200" b="0" i="1" noProof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it-IT" sz="1200" b="0" i="1" noProof="1" smtClean="0">
                            <a:latin typeface="Cambria Math" panose="02040503050406030204" pitchFamily="18" charset="0"/>
                          </a:rPr>
                          <m:t>𝜋</m:t>
                        </m:r>
                      </m:e>
                      <m:sub>
                        <m:r>
                          <a:rPr lang="it-IT" sz="1200" b="0" i="1" noProof="1" smtClean="0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  <m:r>
                      <a:rPr lang="it-IT" sz="1200" b="0" i="1" noProof="1" smtClean="0">
                        <a:latin typeface="Cambria Math" panose="02040503050406030204" pitchFamily="18" charset="0"/>
                      </a:rPr>
                      <m:t>,…,</m:t>
                    </m:r>
                    <m:sSub>
                      <m:sSubPr>
                        <m:ctrlPr>
                          <a:rPr lang="it-IT" sz="1200" b="0" i="1" noProof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it-IT" sz="1200" b="0" i="1" noProof="1" smtClean="0">
                            <a:latin typeface="Cambria Math" panose="02040503050406030204" pitchFamily="18" charset="0"/>
                          </a:rPr>
                          <m:t>𝜋</m:t>
                        </m:r>
                      </m:e>
                      <m:sub>
                        <m:r>
                          <a:rPr lang="it-IT" sz="1200" b="0" i="1" noProof="1" smtClean="0">
                            <a:latin typeface="Cambria Math" panose="02040503050406030204" pitchFamily="18" charset="0"/>
                          </a:rPr>
                          <m:t>ℓ</m:t>
                        </m:r>
                      </m:sub>
                    </m:sSub>
                    <m:r>
                      <a:rPr lang="it-IT" sz="1200" b="0" i="1" noProof="1" smtClean="0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r>
                  <a:rPr lang="en-US" sz="1200" noProof="1"/>
                  <a:t> from a vertex to the manufacturer according to their likelihood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it-IT" sz="1200" b="0" i="1" noProof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it-IT" sz="1200" b="1" i="0" noProof="1" smtClean="0">
                            <a:latin typeface="Cambria Math" panose="02040503050406030204" pitchFamily="18" charset="0"/>
                          </a:rPr>
                          <m:t>𝐩</m:t>
                        </m:r>
                      </m:e>
                      <m:sup>
                        <m:r>
                          <a:rPr lang="it-IT" sz="1200" b="0" i="1" noProof="1" smtClean="0">
                            <a:latin typeface="Cambria Math" panose="02040503050406030204" pitchFamily="18" charset="0"/>
                          </a:rPr>
                          <m:t>𝑐</m:t>
                        </m:r>
                      </m:sup>
                    </m:sSup>
                    <m:r>
                      <a:rPr lang="en-US" sz="1200" b="0" i="1" noProof="1" smtClean="0">
                        <a:latin typeface="Cambria Math" panose="02040503050406030204" pitchFamily="18" charset="0"/>
                      </a:rPr>
                      <m:t>=</m:t>
                    </m:r>
                    <m:d>
                      <m:dPr>
                        <m:ctrlPr>
                          <a:rPr lang="it-IT" sz="1200" b="0" i="1" noProof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it-IT" sz="1200" i="1" noProof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m:rPr>
                                <m:sty m:val="p"/>
                              </m:rPr>
                              <a:rPr lang="it-IT" sz="1200" b="0" i="1" noProof="1" smtClean="0">
                                <a:latin typeface="Cambria Math" panose="02040503050406030204" pitchFamily="18" charset="0"/>
                              </a:rPr>
                              <m:t>p</m:t>
                            </m:r>
                          </m:e>
                          <m:sub>
                            <m:r>
                              <a:rPr lang="it-IT" sz="1200" i="1" noProof="1"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  <m:r>
                          <a:rPr lang="it-IT" sz="1200" i="1" noProof="1">
                            <a:latin typeface="Cambria Math" panose="02040503050406030204" pitchFamily="18" charset="0"/>
                          </a:rPr>
                          <m:t>,</m:t>
                        </m:r>
                        <m:sSub>
                          <m:sSubPr>
                            <m:ctrlPr>
                              <a:rPr lang="it-IT" sz="1200" i="1" noProof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m:rPr>
                                <m:sty m:val="p"/>
                              </m:rPr>
                              <a:rPr lang="it-IT" sz="1200" b="0" i="1" noProof="1" smtClean="0">
                                <a:latin typeface="Cambria Math" panose="02040503050406030204" pitchFamily="18" charset="0"/>
                              </a:rPr>
                              <m:t>p</m:t>
                            </m:r>
                          </m:e>
                          <m:sub>
                            <m:r>
                              <a:rPr lang="it-IT" sz="1200" i="1" noProof="1"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</m:sSub>
                        <m:r>
                          <a:rPr lang="it-IT" sz="1200" i="1" noProof="1">
                            <a:latin typeface="Cambria Math" panose="02040503050406030204" pitchFamily="18" charset="0"/>
                          </a:rPr>
                          <m:t>,…,</m:t>
                        </m:r>
                        <m:sSub>
                          <m:sSubPr>
                            <m:ctrlPr>
                              <a:rPr lang="it-IT" sz="1200" i="1" noProof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m:rPr>
                                <m:sty m:val="p"/>
                              </m:rPr>
                              <a:rPr lang="it-IT" sz="1200" b="0" i="1" noProof="1" smtClean="0">
                                <a:latin typeface="Cambria Math" panose="02040503050406030204" pitchFamily="18" charset="0"/>
                              </a:rPr>
                              <m:t>p</m:t>
                            </m:r>
                          </m:e>
                          <m:sub>
                            <m:r>
                              <a:rPr lang="it-IT" sz="1200" i="1" noProof="1">
                                <a:latin typeface="Cambria Math" panose="02040503050406030204" pitchFamily="18" charset="0"/>
                              </a:rPr>
                              <m:t>ℓ</m:t>
                            </m:r>
                          </m:sub>
                        </m:sSub>
                      </m:e>
                    </m:d>
                  </m:oMath>
                </a14:m>
                <a:r>
                  <a:rPr lang="en-US" sz="1200" noProof="1"/>
                  <a:t>.</a:t>
                </a:r>
              </a:p>
              <a:p>
                <a:pPr marL="261938" indent="-175022">
                  <a:spcAft>
                    <a:spcPts val="6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200" b="1" i="1" noProof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en-US" sz="1200" b="1" i="1" noProof="1">
                              <a:latin typeface="Cambria Math" panose="02040503050406030204" pitchFamily="18" charset="0"/>
                            </a:rPr>
                            <m:t>E</m:t>
                          </m:r>
                          <m:r>
                            <a:rPr lang="en-US" sz="1200" b="1" i="1" noProof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r>
                            <m:rPr>
                              <m:sty m:val="p"/>
                            </m:rPr>
                            <a:rPr lang="en-US" sz="1200" b="1" i="1" noProof="1">
                              <a:latin typeface="Cambria Math" panose="02040503050406030204" pitchFamily="18" charset="0"/>
                            </a:rPr>
                            <m:t>PT</m:t>
                          </m:r>
                        </m:e>
                        <m:sub>
                          <m:r>
                            <a:rPr lang="en-US" sz="1200" b="0" i="1" noProof="1">
                              <a:latin typeface="Cambria Math" panose="02040503050406030204" pitchFamily="18" charset="0"/>
                            </a:rPr>
                            <m:t>𝛽</m:t>
                          </m:r>
                        </m:sub>
                      </m:sSub>
                      <m:r>
                        <a:rPr lang="it-IT" sz="1200" b="0" i="1" noProof="1" smtClean="0">
                          <a:latin typeface="Cambria Math" panose="02040503050406030204" pitchFamily="18" charset="0"/>
                        </a:rPr>
                        <m:t>=</m:t>
                      </m:r>
                      <m:nary>
                        <m:naryPr>
                          <m:chr m:val="∑"/>
                          <m:ctrlPr>
                            <a:rPr lang="it-IT" sz="1200" b="0" i="1" noProof="1" smtClean="0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sty m:val="p"/>
                              <m:brk m:alnAt="23"/>
                            </m:rPr>
                            <a:rPr lang="it-IT" sz="1200" b="0" i="1" noProof="1" smtClean="0">
                              <a:latin typeface="Cambria Math" panose="02040503050406030204" pitchFamily="18" charset="0"/>
                            </a:rPr>
                            <m:t>i</m:t>
                          </m:r>
                          <m:r>
                            <a:rPr lang="it-IT" sz="1200" b="0" i="1" noProof="1" smtClean="0">
                              <a:latin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r>
                            <a:rPr lang="it-IT" sz="1200" b="0" i="1" noProof="1" smtClean="0">
                              <a:latin typeface="Cambria Math" panose="02040503050406030204" pitchFamily="18" charset="0"/>
                            </a:rPr>
                            <m:t>ℓ</m:t>
                          </m:r>
                        </m:sup>
                        <m:e>
                          <m:sSubSup>
                            <m:sSubSupPr>
                              <m:ctrlPr>
                                <a:rPr lang="it-IT" sz="1200" b="0" i="1" noProof="1" smtClean="0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it-IT" sz="1200" b="0" i="1" noProof="1" smtClean="0">
                                  <a:latin typeface="Cambria Math" panose="02040503050406030204" pitchFamily="18" charset="0"/>
                                </a:rPr>
                                <m:t>𝑝</m:t>
                              </m:r>
                            </m:e>
                            <m:sub>
                              <m:r>
                                <a:rPr lang="it-IT" sz="1200" b="0" i="1" noProof="1" smtClean="0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  <m:sup>
                              <m:r>
                                <a:rPr lang="it-IT" sz="1200" b="0" i="1" noProof="1" smtClean="0">
                                  <a:latin typeface="Cambria Math" panose="02040503050406030204" pitchFamily="18" charset="0"/>
                                </a:rPr>
                                <m:t>𝑐</m:t>
                              </m:r>
                            </m:sup>
                          </m:sSubSup>
                          <m:r>
                            <a:rPr lang="it-IT" sz="1200" b="0" i="1" noProof="1" smtClean="0">
                              <a:latin typeface="Cambria Math" panose="02040503050406030204" pitchFamily="18" charset="0"/>
                            </a:rPr>
                            <m:t>⋅</m:t>
                          </m:r>
                          <m:r>
                            <m:rPr>
                              <m:sty m:val="p"/>
                            </m:rPr>
                            <a:rPr lang="it-IT" sz="1200" b="0" i="0" noProof="1" smtClean="0">
                              <a:latin typeface="Cambria Math" panose="02040503050406030204" pitchFamily="18" charset="0"/>
                            </a:rPr>
                            <m:t>P</m:t>
                          </m:r>
                          <m:sSub>
                            <m:sSubPr>
                              <m:ctrlPr>
                                <a:rPr lang="en-US" sz="1200" b="0" i="1" noProof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m:rPr>
                                  <m:sty m:val="p"/>
                                </m:rPr>
                                <a:rPr lang="it-IT" sz="1200" b="0" i="0" noProof="1" smtClean="0">
                                  <a:latin typeface="Cambria Math" panose="02040503050406030204" pitchFamily="18" charset="0"/>
                                </a:rPr>
                                <m:t>T</m:t>
                              </m:r>
                            </m:e>
                            <m:sub>
                              <m:r>
                                <a:rPr lang="en-US" sz="1200" b="0" i="1" noProof="1" smtClean="0">
                                  <a:latin typeface="Cambria Math" panose="02040503050406030204" pitchFamily="18" charset="0"/>
                                </a:rPr>
                                <m:t>𝛽</m:t>
                              </m:r>
                            </m:sub>
                          </m:sSub>
                          <m:d>
                            <m:dPr>
                              <m:ctrlPr>
                                <a:rPr lang="it-IT" sz="1200" b="0" i="1" noProof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it-IT" sz="1200" b="0" i="1" noProof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it-IT" sz="1200" b="0" i="1" noProof="1" smtClean="0">
                                      <a:latin typeface="Cambria Math" panose="02040503050406030204" pitchFamily="18" charset="0"/>
                                    </a:rPr>
                                    <m:t>𝜋</m:t>
                                  </m:r>
                                </m:e>
                                <m:sub>
                                  <m:r>
                                    <a:rPr lang="it-IT" sz="1200" b="0" i="1" noProof="1" smtClean="0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sub>
                              </m:sSub>
                            </m:e>
                          </m:d>
                        </m:e>
                      </m:nary>
                      <m:r>
                        <a:rPr lang="en-US" sz="1200" b="0" i="1" noProof="1" smtClean="0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en-US" sz="1200" b="1" i="1" noProof="1" smtClean="0">
                          <a:latin typeface="Cambria Math" panose="02040503050406030204" pitchFamily="18" charset="0"/>
                        </a:rPr>
                        <m:t>  </m:t>
                      </m:r>
                      <m:sSub>
                        <m:sSubPr>
                          <m:ctrlPr>
                            <a:rPr lang="en-US" sz="1200" b="1" i="1" noProof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en-US" sz="1200" b="1" i="1" noProof="1">
                              <a:latin typeface="Cambria Math" panose="02040503050406030204" pitchFamily="18" charset="0"/>
                            </a:rPr>
                            <m:t>E</m:t>
                          </m:r>
                          <m:r>
                            <a:rPr lang="en-US" sz="1200" b="1" i="1" noProof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r>
                            <m:rPr>
                              <m:sty m:val="p"/>
                            </m:rPr>
                            <a:rPr lang="en-US" sz="1200" b="1" i="1" noProof="1">
                              <a:latin typeface="Cambria Math" panose="02040503050406030204" pitchFamily="18" charset="0"/>
                            </a:rPr>
                            <m:t>PT</m:t>
                          </m:r>
                        </m:e>
                        <m:sub>
                          <m:r>
                            <a:rPr lang="en-US" sz="1200" b="0" i="1" noProof="1">
                              <a:latin typeface="Cambria Math" panose="02040503050406030204" pitchFamily="18" charset="0"/>
                            </a:rPr>
                            <m:t>𝛽</m:t>
                          </m:r>
                        </m:sub>
                      </m:sSub>
                      <m:r>
                        <a:rPr lang="en-US" sz="1200" i="1" noProof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  <m:r>
                        <a:rPr lang="en-US" sz="1200" noProof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(</m:t>
                      </m:r>
                      <m:sSubSup>
                        <m:sSubSupPr>
                          <m:ctrlPr>
                            <a:rPr lang="en-US" sz="1200" b="0" i="1" noProof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m:rPr>
                              <m:sty m:val="p"/>
                            </m:rPr>
                            <a:rPr lang="en-US" sz="1200" b="0" i="0" noProof="1" smtClean="0">
                              <a:latin typeface="Cambria Math" panose="02040503050406030204" pitchFamily="18" charset="0"/>
                            </a:rPr>
                            <m:t>E</m:t>
                          </m:r>
                          <m:r>
                            <a:rPr lang="en-US" sz="1200" b="0" i="0" noProof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r>
                            <m:rPr>
                              <m:sty m:val="p"/>
                            </m:rPr>
                            <a:rPr lang="en-US" sz="1200" b="0" i="0" noProof="1" smtClean="0">
                              <a:latin typeface="Cambria Math" panose="02040503050406030204" pitchFamily="18" charset="0"/>
                            </a:rPr>
                            <m:t>P</m:t>
                          </m:r>
                          <m:r>
                            <m:rPr>
                              <m:sty m:val="p"/>
                            </m:rPr>
                            <a:rPr lang="en-US" sz="1200" i="1" noProof="1">
                              <a:latin typeface="Cambria Math" panose="02040503050406030204" pitchFamily="18" charset="0"/>
                            </a:rPr>
                            <m:t>T</m:t>
                          </m:r>
                        </m:e>
                        <m:sub>
                          <m:r>
                            <a:rPr lang="en-US" sz="1200" b="0" i="1" noProof="1" smtClean="0">
                              <a:latin typeface="Cambria Math" panose="02040503050406030204" pitchFamily="18" charset="0"/>
                            </a:rPr>
                            <m:t>𝛽</m:t>
                          </m:r>
                        </m:sub>
                        <m:sup>
                          <m:r>
                            <a:rPr lang="en-US" sz="1200" i="1" noProof="1">
                              <a:latin typeface="Cambria Math" panose="02040503050406030204" pitchFamily="18" charset="0"/>
                            </a:rPr>
                            <m:t>𝑙</m:t>
                          </m:r>
                        </m:sup>
                      </m:sSubSup>
                      <m:r>
                        <a:rPr lang="en-US" sz="1200" i="1" noProof="1">
                          <a:latin typeface="Cambria Math" panose="02040503050406030204" pitchFamily="18" charset="0"/>
                        </a:rPr>
                        <m:t>,</m:t>
                      </m:r>
                      <m:sSubSup>
                        <m:sSubSupPr>
                          <m:ctrlPr>
                            <a:rPr lang="en-US" sz="1200" i="1" noProof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m:rPr>
                              <m:sty m:val="p"/>
                            </m:rPr>
                            <a:rPr lang="en-US" sz="1200" noProof="1">
                              <a:latin typeface="Cambria Math" panose="02040503050406030204" pitchFamily="18" charset="0"/>
                            </a:rPr>
                            <m:t>E</m:t>
                          </m:r>
                          <m:r>
                            <a:rPr lang="en-US" sz="1200" b="0" i="0" noProof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r>
                            <m:rPr>
                              <m:sty m:val="p"/>
                            </m:rPr>
                            <a:rPr lang="en-US" sz="1200" noProof="1">
                              <a:latin typeface="Cambria Math" panose="02040503050406030204" pitchFamily="18" charset="0"/>
                            </a:rPr>
                            <m:t>P</m:t>
                          </m:r>
                          <m:r>
                            <m:rPr>
                              <m:sty m:val="p"/>
                            </m:rPr>
                            <a:rPr lang="en-US" sz="1200" i="1" noProof="1">
                              <a:latin typeface="Cambria Math" panose="02040503050406030204" pitchFamily="18" charset="0"/>
                            </a:rPr>
                            <m:t>T</m:t>
                          </m:r>
                        </m:e>
                        <m:sub>
                          <m:r>
                            <a:rPr lang="en-US" sz="1200" i="1" noProof="1">
                              <a:latin typeface="Cambria Math" panose="02040503050406030204" pitchFamily="18" charset="0"/>
                            </a:rPr>
                            <m:t>𝛽</m:t>
                          </m:r>
                        </m:sub>
                        <m:sup>
                          <m:r>
                            <m:rPr>
                              <m:sty m:val="p"/>
                            </m:rPr>
                            <a:rPr lang="en-US" sz="1200" b="0" i="1" noProof="1" smtClean="0">
                              <a:latin typeface="Cambria Math" panose="02040503050406030204" pitchFamily="18" charset="0"/>
                            </a:rPr>
                            <m:t>u</m:t>
                          </m:r>
                        </m:sup>
                      </m:sSubSup>
                      <m:r>
                        <a:rPr lang="en-US" sz="1200" i="1" noProof="1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it-IT" sz="1200" i="1" noProof="1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 marL="261938" indent="-175022">
                  <a:spcAft>
                    <a:spcPts val="600"/>
                  </a:spcAft>
                </a:pPr>
                <a:endParaRPr lang="en-US" sz="1200" noProof="1"/>
              </a:p>
              <a:p>
                <a:pPr marL="261938" indent="-175022">
                  <a:lnSpc>
                    <a:spcPct val="200000"/>
                  </a:lnSpc>
                  <a:spcAft>
                    <a:spcPts val="600"/>
                  </a:spcAft>
                </a:pPr>
                <a:r>
                  <a:rPr lang="en-US" sz="1200" b="1" noProof="1"/>
                  <a:t>Expected Total Forecasted Shipment Time </a:t>
                </a:r>
                <a:r>
                  <a:rPr lang="en-US" sz="1200" noProof="1"/>
                  <a:t>(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it-IT" sz="1200" i="1" noProof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E</m:t>
                    </m:r>
                    <m:r>
                      <a:rPr lang="en-US" sz="1200" b="0" i="1" noProof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−</m:t>
                    </m:r>
                    <m:r>
                      <m:rPr>
                        <m:sty m:val="p"/>
                      </m:rPr>
                      <a:rPr lang="it-IT" sz="1200" i="1" noProof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TFST</m:t>
                    </m:r>
                  </m:oMath>
                </a14:m>
                <a:r>
                  <a:rPr lang="en-US" sz="1200" noProof="1"/>
                  <a:t>): 	Interval</a:t>
                </a:r>
              </a:p>
              <a:p>
                <a:pPr marL="261938" indent="-175022">
                  <a:spcAft>
                    <a:spcPts val="600"/>
                  </a:spcAft>
                  <a:buFont typeface="Arial" panose="020B0604020202020204" pitchFamily="34" charset="0"/>
                  <a:buChar char="•"/>
                </a:pPr>
                <a:r>
                  <a:rPr lang="en-US" sz="1200" noProof="1"/>
                  <a:t>Extends the </a:t>
                </a:r>
                <a:r>
                  <a:rPr lang="en-US" sz="1200" b="1" noProof="1"/>
                  <a:t>TFST</a:t>
                </a:r>
                <a:r>
                  <a:rPr lang="en-US" sz="1200" noProof="1"/>
                  <a:t> to consider </a:t>
                </a:r>
                <a:r>
                  <a:rPr lang="en-US" sz="1200" b="1" noProof="1"/>
                  <a:t>all</a:t>
                </a:r>
                <a:r>
                  <a:rPr lang="en-US" sz="1200" noProof="1"/>
                  <a:t> the </a:t>
                </a:r>
                <a:r>
                  <a:rPr lang="en-US" sz="1200" b="1" noProof="1"/>
                  <a:t>possible</a:t>
                </a:r>
                <a:r>
                  <a:rPr lang="en-US" sz="1200" noProof="1"/>
                  <a:t> </a:t>
                </a:r>
                <a:r>
                  <a:rPr lang="en-US" sz="1200" b="1" noProof="1"/>
                  <a:t>paths</a:t>
                </a:r>
                <a:r>
                  <a:rPr lang="en-US" sz="1200" noProof="1"/>
                  <a:t> from a vertex to the manufacturer.</a:t>
                </a:r>
              </a:p>
              <a:p>
                <a:pPr marL="261938" indent="-175022">
                  <a:spcAft>
                    <a:spcPts val="6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it-IT" sz="1200" b="0" i="1" noProof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E</m:t>
                      </m:r>
                      <m:r>
                        <a:rPr lang="en-US" sz="1200" b="0" i="1" noProof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r>
                        <m:rPr>
                          <m:sty m:val="p"/>
                        </m:rPr>
                        <a:rPr lang="it-IT" sz="1200" i="1" noProof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TFST</m:t>
                      </m:r>
                      <m:r>
                        <a:rPr lang="it-IT" sz="1200" i="1" noProof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  <m:r>
                        <m:rPr>
                          <m:sty m:val="p"/>
                        </m:rPr>
                        <a:rPr lang="it-IT" sz="1200" i="1" noProof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α</m:t>
                      </m:r>
                      <m:r>
                        <a:rPr lang="it-IT" sz="1200" i="1" noProof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⋅</m:t>
                      </m:r>
                      <m:sSub>
                        <m:sSubPr>
                          <m:ctrlPr>
                            <a:rPr lang="en-US" sz="1200" b="0" i="1" noProof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en-US" sz="1200" b="0" i="1" noProof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TT</m:t>
                          </m:r>
                        </m:e>
                        <m:sub>
                          <m:sSub>
                            <m:sSubPr>
                              <m:ctrlPr>
                                <a:rPr lang="en-US" sz="1200" b="0" i="1" noProof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200" b="0" i="1" noProof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𝛽</m:t>
                              </m:r>
                            </m:e>
                            <m:sub>
                              <m:r>
                                <a:rPr lang="en-US" sz="1200" b="0" i="1" noProof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</m:sub>
                      </m:sSub>
                      <m:r>
                        <a:rPr lang="it-IT" sz="1200" i="1" noProof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(1−</m:t>
                      </m:r>
                      <m:r>
                        <m:rPr>
                          <m:sty m:val="p"/>
                        </m:rPr>
                        <a:rPr lang="it-IT" sz="1200" i="1" noProof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α</m:t>
                      </m:r>
                      <m:r>
                        <a:rPr lang="it-IT" sz="1200" i="1" noProof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) ⋅</m:t>
                      </m:r>
                      <m:sSub>
                        <m:sSubPr>
                          <m:ctrlPr>
                            <a:rPr lang="en-US" sz="1200" b="1" i="1" noProof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en-US" sz="1200" b="1" i="1" noProof="1">
                              <a:latin typeface="Cambria Math" panose="02040503050406030204" pitchFamily="18" charset="0"/>
                            </a:rPr>
                            <m:t>E</m:t>
                          </m:r>
                          <m:r>
                            <a:rPr lang="en-US" sz="1200" b="1" i="1" noProof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r>
                            <m:rPr>
                              <m:sty m:val="p"/>
                            </m:rPr>
                            <a:rPr lang="en-US" sz="1200" b="1" i="1" noProof="1">
                              <a:latin typeface="Cambria Math" panose="02040503050406030204" pitchFamily="18" charset="0"/>
                            </a:rPr>
                            <m:t>PT</m:t>
                          </m:r>
                        </m:e>
                        <m:sub>
                          <m:sSub>
                            <m:sSubPr>
                              <m:ctrlPr>
                                <a:rPr lang="en-US" sz="1200" i="1" noProof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200" b="0" i="1" noProof="1">
                                  <a:latin typeface="Cambria Math" panose="02040503050406030204" pitchFamily="18" charset="0"/>
                                </a:rPr>
                                <m:t>𝛽</m:t>
                              </m:r>
                            </m:e>
                            <m:sub>
                              <m:r>
                                <a:rPr lang="en-US" sz="1200" b="0" i="1" noProof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b>
                          </m:sSub>
                        </m:sub>
                      </m:sSub>
                    </m:oMath>
                  </m:oMathPara>
                </a14:m>
                <a:endParaRPr lang="it-IT" sz="1200" i="1" noProof="1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 marL="261938" indent="-175022">
                  <a:spcAft>
                    <a:spcPts val="600"/>
                  </a:spcAft>
                </a:pPr>
                <a:endParaRPr lang="en-US" sz="1200" noProof="1"/>
              </a:p>
            </p:txBody>
          </p:sp>
        </mc:Choice>
        <mc:Fallback>
          <p:sp>
            <p:nvSpPr>
              <p:cNvPr id="6" name="Google Shape;703;p114">
                <a:extLst>
                  <a:ext uri="{FF2B5EF4-FFF2-40B4-BE49-F238E27FC236}">
                    <a16:creationId xmlns:a16="http://schemas.microsoft.com/office/drawing/2014/main" id="{078BB124-5CFE-4DC8-7C4A-A790AB5BEB5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>
                <p:custDataLst>
                  <p:tags r:id="rId4"/>
                </p:custDataLst>
              </p:nvPr>
            </p:nvSpPr>
            <p:spPr>
              <a:xfrm>
                <a:off x="342900" y="1564971"/>
                <a:ext cx="5298619" cy="3013251"/>
              </a:xfrm>
              <a:prstGeom prst="rect">
                <a:avLst/>
              </a:prstGeom>
              <a:blipFill>
                <a:blip r:embed="rId11"/>
                <a:stretch>
                  <a:fillRect r="-345"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4CE55BD9-E692-4F3F-263A-3EBB63926E42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342900" y="255537"/>
            <a:ext cx="8455819" cy="155515"/>
          </a:xfrm>
          <a:prstGeom prst="rect">
            <a:avLst/>
          </a:prstGeom>
        </p:spPr>
        <p:txBody>
          <a:bodyPr vert="horz" lIns="0" tIns="0" rIns="68580" bIns="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000" cap="all" noProof="1">
                <a:solidFill>
                  <a:schemeClr val="accent1"/>
                </a:solidFill>
                <a:latin typeface="Aptos" panose="020B0004020202020204" pitchFamily="34" charset="0"/>
              </a:rPr>
              <a:t>Realtime Indicators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DFACC9B2-A3D9-B509-EF69-C5D0E2761BDF}"/>
              </a:ext>
            </a:extLst>
          </p:cNvPr>
          <p:cNvSpPr>
            <a:spLocks noGrp="1"/>
          </p:cNvSpPr>
          <p:nvPr>
            <p:ph type="body" sz="quarter" idx="15"/>
            <p:custDataLst>
              <p:tags r:id="rId6"/>
            </p:custDataLst>
          </p:nvPr>
        </p:nvSpPr>
        <p:spPr>
          <a:xfrm>
            <a:off x="5915892" y="1"/>
            <a:ext cx="3228108" cy="5143500"/>
          </a:xfrm>
          <a:solidFill>
            <a:schemeClr val="bg2"/>
          </a:solidFill>
        </p:spPr>
        <p:txBody>
          <a:bodyPr lIns="342900" tIns="68580" rIns="274320" bIns="6858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0000"/>
              </a:lnSpc>
              <a:spcBef>
                <a:spcPts val="500"/>
              </a:spcBef>
            </a:pPr>
            <a:r>
              <a:rPr lang="en-US" sz="1400" b="1" dirty="0">
                <a:solidFill>
                  <a:srgbClr val="125E4B"/>
                </a:solidFill>
              </a:rPr>
              <a:t>Realtime indicators</a:t>
            </a:r>
            <a:r>
              <a:rPr lang="en-US" sz="1400" dirty="0">
                <a:solidFill>
                  <a:srgbClr val="125E4B"/>
                </a:solidFill>
              </a:rPr>
              <a:t> are statistical measures that provide actionable insights into the current state of the </a:t>
            </a:r>
            <a:r>
              <a:rPr lang="en-US" sz="1400" b="1" dirty="0">
                <a:solidFill>
                  <a:srgbClr val="125E4B"/>
                </a:solidFill>
              </a:rPr>
              <a:t>supply chain. </a:t>
            </a:r>
          </a:p>
          <a:p>
            <a:pPr>
              <a:lnSpc>
                <a:spcPct val="110000"/>
              </a:lnSpc>
              <a:spcBef>
                <a:spcPts val="500"/>
              </a:spcBef>
            </a:pPr>
            <a:r>
              <a:rPr lang="en-US" sz="1400" dirty="0">
                <a:solidFill>
                  <a:srgbClr val="125E4B"/>
                </a:solidFill>
              </a:rPr>
              <a:t>Organized</a:t>
            </a:r>
            <a:r>
              <a:rPr lang="en-US" sz="1400" b="1" dirty="0">
                <a:solidFill>
                  <a:srgbClr val="125E4B"/>
                </a:solidFill>
              </a:rPr>
              <a:t> hierarchically</a:t>
            </a:r>
            <a:r>
              <a:rPr lang="en-US" sz="1400" dirty="0">
                <a:solidFill>
                  <a:srgbClr val="125E4B"/>
                </a:solidFill>
              </a:rPr>
              <a:t> at different </a:t>
            </a:r>
            <a:r>
              <a:rPr lang="en-US" sz="1400" b="1" dirty="0">
                <a:solidFill>
                  <a:srgbClr val="125E4B"/>
                </a:solidFill>
              </a:rPr>
              <a:t>granularity levels</a:t>
            </a:r>
            <a:r>
              <a:rPr lang="en-US" sz="1400" dirty="0">
                <a:solidFill>
                  <a:srgbClr val="125E4B"/>
                </a:solidFill>
              </a:rPr>
              <a:t>, they combine:</a:t>
            </a:r>
          </a:p>
          <a:p>
            <a:pPr marL="285750" indent="-285750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125E4B"/>
                </a:solidFill>
              </a:rPr>
              <a:t>Historical indicators.</a:t>
            </a:r>
          </a:p>
          <a:p>
            <a:pPr marL="285750" indent="-285750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125E4B"/>
                </a:solidFill>
              </a:rPr>
              <a:t>Supply chain graph.</a:t>
            </a:r>
          </a:p>
          <a:p>
            <a:pPr marL="285750" indent="-285750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125E4B"/>
                </a:solidFill>
              </a:rPr>
              <a:t>Real-time data.</a:t>
            </a:r>
          </a:p>
          <a:p>
            <a:pPr marL="285750" indent="-285750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125E4B"/>
                </a:solidFill>
              </a:rPr>
              <a:t>Realtime indicators from lower levels.</a:t>
            </a:r>
          </a:p>
        </p:txBody>
      </p:sp>
      <p:sp>
        <p:nvSpPr>
          <p:cNvPr id="4" name="Google Shape;10527;p9415">
            <a:extLst>
              <a:ext uri="{FF2B5EF4-FFF2-40B4-BE49-F238E27FC236}">
                <a16:creationId xmlns:a16="http://schemas.microsoft.com/office/drawing/2014/main" id="{39DF83F0-7426-478D-3414-C540FA62A713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342898" y="997839"/>
            <a:ext cx="5298621" cy="30028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68580" tIns="34290" rIns="68580" bIns="34290" anchor="ctr" anchorCtr="0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ts val="1100"/>
            </a:pPr>
            <a:r>
              <a:rPr lang="en-US" sz="1400" noProof="1">
                <a:solidFill>
                  <a:schemeClr val="bg1"/>
                </a:solidFill>
                <a:latin typeface="+mj-lt"/>
              </a:rPr>
              <a:t>Grap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3149920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9E07452-BF95-7002-E51E-B0F5BE95937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403CE3C-9D7B-608F-4713-03E8DBB0A49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1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7772400" imgH="10058400" progId="TCLayout.ActiveDocument.1">
                  <p:embed/>
                </p:oleObj>
              </mc:Choice>
              <mc:Fallback>
                <p:oleObj name="think-cell Slide" r:id="rId9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403CE3C-9D7B-608F-4713-03E8DBB0A4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2" y="1191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5BD0F1DF-E93D-955B-8518-614EC3471483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 vert="horz" lIns="0" tIns="34290" rIns="0" bIns="3429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noProof="1"/>
              <a:t>Realtime Indicators Implementation (1)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3AE55670-9940-3007-4679-B68BD4461411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342900" y="255537"/>
            <a:ext cx="8455819" cy="155515"/>
          </a:xfrm>
          <a:prstGeom prst="rect">
            <a:avLst/>
          </a:prstGeom>
        </p:spPr>
        <p:txBody>
          <a:bodyPr vert="horz" lIns="0" tIns="0" rIns="68580" bIns="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000" cap="all" noProof="1">
                <a:solidFill>
                  <a:schemeClr val="accent1"/>
                </a:solidFill>
                <a:latin typeface="Aptos" panose="020B0004020202020204" pitchFamily="34" charset="0"/>
              </a:rPr>
              <a:t>REALTIME INDICATORS</a:t>
            </a:r>
          </a:p>
        </p:txBody>
      </p:sp>
      <p:sp>
        <p:nvSpPr>
          <p:cNvPr id="30" name="Google Shape;10527;p9415">
            <a:extLst>
              <a:ext uri="{FF2B5EF4-FFF2-40B4-BE49-F238E27FC236}">
                <a16:creationId xmlns:a16="http://schemas.microsoft.com/office/drawing/2014/main" id="{78BB14F6-587D-BDFE-F445-27FFC4F456B6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42898" y="997840"/>
            <a:ext cx="3643739" cy="28803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68580" tIns="34290" rIns="68580" bIns="34290" anchor="ctr" anchorCtr="0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ts val="1100"/>
            </a:pPr>
            <a:r>
              <a:rPr lang="en-US" sz="1400" noProof="1">
                <a:solidFill>
                  <a:schemeClr val="bg1"/>
                </a:solidFill>
                <a:latin typeface="+mj-lt"/>
              </a:rPr>
              <a:t>Vertex &amp; Route Time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id="{81A706E0-A680-EE68-0779-C2CEA6F7EF9F}"/>
                  </a:ext>
                </a:extLst>
              </p:cNvPr>
              <p:cNvSpPr txBox="1"/>
              <p:nvPr/>
            </p:nvSpPr>
            <p:spPr>
              <a:xfrm>
                <a:off x="4914901" y="1380571"/>
                <a:ext cx="3643739" cy="86177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US" sz="1200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TMI</m:t>
                    </m:r>
                  </m:oMath>
                </a14:m>
                <a:r>
                  <a:rPr lang="en-US" sz="1200" dirty="0">
                    <a:solidFill>
                      <a:schemeClr val="tx1"/>
                    </a:solidFill>
                    <a:latin typeface="+mn-lt"/>
                  </a:rPr>
                  <a:t> </a:t>
                </a:r>
                <a:r>
                  <a:rPr lang="en-US" sz="1200" dirty="0">
                    <a:latin typeface="+mn-lt"/>
                    <a:cs typeface="Arial" panose="020B0604020202020204" pitchFamily="34" charset="0"/>
                  </a:rPr>
                  <a:t>is implemented only for road transport, calculated as the difference between route time under </a:t>
                </a:r>
                <a:r>
                  <a:rPr lang="en-US" sz="1200" b="1" dirty="0">
                    <a:latin typeface="+mn-lt"/>
                    <a:cs typeface="Arial" panose="020B0604020202020204" pitchFamily="34" charset="0"/>
                  </a:rPr>
                  <a:t>actual</a:t>
                </a:r>
                <a:r>
                  <a:rPr lang="en-US" sz="1200" dirty="0">
                    <a:latin typeface="+mn-lt"/>
                    <a:cs typeface="Arial" panose="020B0604020202020204" pitchFamily="34" charset="0"/>
                  </a:rPr>
                  <a:t> and </a:t>
                </a:r>
                <a:r>
                  <a:rPr lang="en-US" sz="1200" b="1" dirty="0">
                    <a:latin typeface="+mn-lt"/>
                    <a:cs typeface="Arial" panose="020B0604020202020204" pitchFamily="34" charset="0"/>
                  </a:rPr>
                  <a:t>ideal</a:t>
                </a:r>
                <a:r>
                  <a:rPr lang="en-US" sz="1200" dirty="0">
                    <a:latin typeface="+mn-lt"/>
                    <a:cs typeface="Arial" panose="020B0604020202020204" pitchFamily="34" charset="0"/>
                  </a:rPr>
                  <a:t> </a:t>
                </a:r>
                <a:r>
                  <a:rPr lang="en-US" sz="1200" b="1" dirty="0">
                    <a:latin typeface="+mn-lt"/>
                    <a:cs typeface="Arial" panose="020B0604020202020204" pitchFamily="34" charset="0"/>
                  </a:rPr>
                  <a:t>traffic</a:t>
                </a:r>
                <a:r>
                  <a:rPr lang="en-US" sz="1200" dirty="0">
                    <a:latin typeface="+mn-lt"/>
                    <a:cs typeface="Arial" panose="020B0604020202020204" pitchFamily="34" charset="0"/>
                  </a:rPr>
                  <a:t> </a:t>
                </a:r>
                <a:r>
                  <a:rPr lang="en-US" sz="1200" b="1" dirty="0">
                    <a:latin typeface="+mn-lt"/>
                    <a:cs typeface="Arial" panose="020B0604020202020204" pitchFamily="34" charset="0"/>
                  </a:rPr>
                  <a:t>conditions</a:t>
                </a:r>
                <a:r>
                  <a:rPr lang="en-US" sz="1200" dirty="0">
                    <a:latin typeface="+mn-lt"/>
                    <a:cs typeface="Arial" panose="020B0604020202020204" pitchFamily="34" charset="0"/>
                  </a:rPr>
                  <a:t>.</a:t>
                </a:r>
                <a:endParaRPr lang="en-US" sz="1200" dirty="0">
                  <a:solidFill>
                    <a:srgbClr val="125E4B"/>
                  </a:solidFill>
                  <a:latin typeface="+mn-lt"/>
                  <a:cs typeface="Arial" panose="020B0604020202020204" pitchFamily="34" charset="0"/>
                </a:endParaRPr>
              </a:p>
              <a:p>
                <a:endParaRPr lang="en-US" dirty="0"/>
              </a:p>
            </p:txBody>
          </p:sp>
        </mc:Choice>
        <mc:Fallback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id="{81A706E0-A680-EE68-0779-C2CEA6F7EF9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914901" y="1380571"/>
                <a:ext cx="3643739" cy="861774"/>
              </a:xfrm>
              <a:prstGeom prst="rect">
                <a:avLst/>
              </a:prstGeom>
              <a:blipFill>
                <a:blip r:embed="rId11"/>
                <a:stretch>
                  <a:fillRect r="-83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2" name="Google Shape;10527;p9415">
            <a:extLst>
              <a:ext uri="{FF2B5EF4-FFF2-40B4-BE49-F238E27FC236}">
                <a16:creationId xmlns:a16="http://schemas.microsoft.com/office/drawing/2014/main" id="{4387627C-7727-415F-186A-10E54162F02C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4914903" y="997840"/>
            <a:ext cx="3643738" cy="28803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68580" tIns="34290" rIns="68580" bIns="34290" anchor="ctr" anchorCtr="0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ts val="1100"/>
            </a:pPr>
            <a:r>
              <a:rPr lang="en-US" sz="1400" noProof="1">
                <a:solidFill>
                  <a:schemeClr val="bg1"/>
                </a:solidFill>
                <a:latin typeface="+mj-lt"/>
              </a:rPr>
              <a:t>Traffic Meta Index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34" name="TextBox 33">
                <a:extLst>
                  <a:ext uri="{FF2B5EF4-FFF2-40B4-BE49-F238E27FC236}">
                    <a16:creationId xmlns:a16="http://schemas.microsoft.com/office/drawing/2014/main" id="{DD8B54D1-5DEE-110C-8C98-25B429C51F66}"/>
                  </a:ext>
                </a:extLst>
              </p:cNvPr>
              <p:cNvSpPr txBox="1"/>
              <p:nvPr/>
            </p:nvSpPr>
            <p:spPr>
              <a:xfrm>
                <a:off x="4914900" y="3238243"/>
                <a:ext cx="3643740" cy="6463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US" sz="1200" b="0" i="1" smtClean="0">
                        <a:solidFill>
                          <a:schemeClr val="tx1"/>
                        </a:solidFill>
                        <a:latin typeface="+mn-lt"/>
                      </a:rPr>
                      <m:t>WMI</m:t>
                    </m:r>
                    <m:r>
                      <a:rPr lang="en-US" sz="1200" b="0" i="1" smtClean="0">
                        <a:solidFill>
                          <a:schemeClr val="tx1"/>
                        </a:solidFill>
                        <a:latin typeface="+mn-lt"/>
                      </a:rPr>
                      <m:t> </m:t>
                    </m:r>
                  </m:oMath>
                </a14:m>
                <a:r>
                  <a:rPr lang="en-US" sz="1200" dirty="0">
                    <a:latin typeface="+mn-lt"/>
                    <a:cs typeface="Arial" panose="020B0604020202020204" pitchFamily="34" charset="0"/>
                  </a:rPr>
                  <a:t>is implemented </a:t>
                </a:r>
                <a:r>
                  <a:rPr lang="en-US" sz="1200" dirty="0">
                    <a:latin typeface="+mn-lt"/>
                  </a:rPr>
                  <a:t>through heuristic-based scores that quantify the impact of weather conditions and temperature on carrier transportation</a:t>
                </a:r>
                <a:r>
                  <a:rPr lang="en-US" sz="1200" dirty="0">
                    <a:latin typeface="+mn-lt"/>
                    <a:cs typeface="Arial" panose="020B0604020202020204" pitchFamily="34" charset="0"/>
                  </a:rPr>
                  <a:t>.</a:t>
                </a:r>
                <a:endParaRPr lang="en-US" sz="1200" dirty="0">
                  <a:solidFill>
                    <a:srgbClr val="125E4B"/>
                  </a:solidFill>
                  <a:latin typeface="+mn-lt"/>
                  <a:cs typeface="Arial" panose="020B0604020202020204" pitchFamily="34" charset="0"/>
                </a:endParaRPr>
              </a:p>
            </p:txBody>
          </p:sp>
        </mc:Choice>
        <mc:Fallback>
          <p:sp>
            <p:nvSpPr>
              <p:cNvPr id="34" name="TextBox 33">
                <a:extLst>
                  <a:ext uri="{FF2B5EF4-FFF2-40B4-BE49-F238E27FC236}">
                    <a16:creationId xmlns:a16="http://schemas.microsoft.com/office/drawing/2014/main" id="{DD8B54D1-5DEE-110C-8C98-25B429C51F6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914900" y="3238243"/>
                <a:ext cx="3643740" cy="646331"/>
              </a:xfrm>
              <a:prstGeom prst="rect">
                <a:avLst/>
              </a:prstGeom>
              <a:blipFill>
                <a:blip r:embed="rId12"/>
                <a:stretch>
                  <a:fillRect b="-660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5" name="Google Shape;10527;p9415">
            <a:extLst>
              <a:ext uri="{FF2B5EF4-FFF2-40B4-BE49-F238E27FC236}">
                <a16:creationId xmlns:a16="http://schemas.microsoft.com/office/drawing/2014/main" id="{0EAD8ABC-5A89-FBD5-8EFB-6EEFDECCB912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4914900" y="2846298"/>
            <a:ext cx="3643740" cy="28803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68580" tIns="34290" rIns="68580" bIns="34290" anchor="ctr" anchorCtr="0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ts val="1100"/>
            </a:pPr>
            <a:r>
              <a:rPr lang="en-US" sz="1400" noProof="1">
                <a:solidFill>
                  <a:schemeClr val="bg1"/>
                </a:solidFill>
                <a:latin typeface="+mj-lt"/>
              </a:rPr>
              <a:t>Weather Meta Index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36" name="TextBox 35">
                <a:extLst>
                  <a:ext uri="{FF2B5EF4-FFF2-40B4-BE49-F238E27FC236}">
                    <a16:creationId xmlns:a16="http://schemas.microsoft.com/office/drawing/2014/main" id="{8FC020BE-EBF6-3DBA-EBB6-D94934C26798}"/>
                  </a:ext>
                </a:extLst>
              </p:cNvPr>
              <p:cNvSpPr txBox="1"/>
              <p:nvPr/>
            </p:nvSpPr>
            <p:spPr>
              <a:xfrm>
                <a:off x="342896" y="1368600"/>
                <a:ext cx="3494813" cy="318388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200" b="0" dirty="0">
                    <a:solidFill>
                      <a:schemeClr val="tx1"/>
                    </a:solidFill>
                    <a:latin typeface="+mn-lt"/>
                  </a:rPr>
                  <a:t>Ideally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1200" b="0" i="1" smtClean="0">
                            <a:solidFill>
                              <a:schemeClr val="tx1"/>
                            </a:solidFill>
                            <a:latin typeface="+mn-lt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sz="1200" b="0" i="1" smtClean="0">
                            <a:solidFill>
                              <a:schemeClr val="tx1"/>
                            </a:solidFill>
                            <a:latin typeface="+mn-lt"/>
                          </a:rPr>
                          <m:t>VT</m:t>
                        </m:r>
                      </m:e>
                      <m:sub>
                        <m:r>
                          <a:rPr lang="en-US" sz="1200" b="0" i="1" smtClean="0">
                            <a:solidFill>
                              <a:schemeClr val="tx1"/>
                            </a:solidFill>
                            <a:latin typeface="+mn-lt"/>
                          </a:rPr>
                          <m:t>𝛽</m:t>
                        </m:r>
                      </m:sub>
                    </m:sSub>
                  </m:oMath>
                </a14:m>
                <a:r>
                  <a:rPr lang="en-US" sz="1200" dirty="0">
                    <a:solidFill>
                      <a:schemeClr val="tx1"/>
                    </a:solidFill>
                    <a:latin typeface="+mn-lt"/>
                    <a:cs typeface="Arial" panose="020B0604020202020204" pitchFamily="34" charset="0"/>
                  </a:rPr>
                  <a:t> and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1200" i="1">
                            <a:solidFill>
                              <a:schemeClr val="tx1"/>
                            </a:solidFill>
                            <a:latin typeface="+mn-lt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sz="1200" b="0" i="1" smtClean="0">
                            <a:solidFill>
                              <a:schemeClr val="tx1"/>
                            </a:solidFill>
                            <a:latin typeface="+mn-lt"/>
                          </a:rPr>
                          <m:t>R</m:t>
                        </m:r>
                        <m:r>
                          <m:rPr>
                            <m:sty m:val="p"/>
                          </m:rPr>
                          <a:rPr lang="en-US" sz="1200" i="1">
                            <a:solidFill>
                              <a:schemeClr val="tx1"/>
                            </a:solidFill>
                            <a:latin typeface="+mn-lt"/>
                          </a:rPr>
                          <m:t>T</m:t>
                        </m:r>
                      </m:e>
                      <m:sub>
                        <m:r>
                          <a:rPr lang="en-US" sz="1200" i="1">
                            <a:solidFill>
                              <a:schemeClr val="tx1"/>
                            </a:solidFill>
                            <a:latin typeface="+mn-lt"/>
                          </a:rPr>
                          <m:t>𝛽</m:t>
                        </m:r>
                      </m:sub>
                    </m:sSub>
                  </m:oMath>
                </a14:m>
                <a:r>
                  <a:rPr lang="en-US" sz="1200" dirty="0">
                    <a:solidFill>
                      <a:schemeClr val="tx1"/>
                    </a:solidFill>
                    <a:latin typeface="+mn-lt"/>
                    <a:cs typeface="Arial" panose="020B0604020202020204" pitchFamily="34" charset="0"/>
                  </a:rPr>
                  <a:t> would be computed as </a:t>
                </a:r>
                <a:r>
                  <a:rPr lang="en-US" sz="1200" b="1" dirty="0">
                    <a:solidFill>
                      <a:schemeClr val="tx1"/>
                    </a:solidFill>
                    <a:latin typeface="+mn-lt"/>
                    <a:cs typeface="Arial" panose="020B0604020202020204" pitchFamily="34" charset="0"/>
                  </a:rPr>
                  <a:t>confidence</a:t>
                </a:r>
                <a:r>
                  <a:rPr lang="en-US" sz="1200" dirty="0">
                    <a:solidFill>
                      <a:schemeClr val="tx1"/>
                    </a:solidFill>
                    <a:latin typeface="+mn-lt"/>
                    <a:cs typeface="Arial" panose="020B0604020202020204" pitchFamily="34" charset="0"/>
                  </a:rPr>
                  <a:t> </a:t>
                </a:r>
                <a:r>
                  <a:rPr lang="en-US" sz="1200" b="1" dirty="0">
                    <a:solidFill>
                      <a:schemeClr val="tx1"/>
                    </a:solidFill>
                    <a:latin typeface="+mn-lt"/>
                    <a:cs typeface="Arial" panose="020B0604020202020204" pitchFamily="34" charset="0"/>
                  </a:rPr>
                  <a:t>intervals</a:t>
                </a:r>
                <a:r>
                  <a:rPr lang="en-US" sz="1200" dirty="0">
                    <a:solidFill>
                      <a:schemeClr val="tx1"/>
                    </a:solidFill>
                    <a:latin typeface="+mn-lt"/>
                    <a:cs typeface="Arial" panose="020B0604020202020204" pitchFamily="34" charset="0"/>
                  </a:rPr>
                  <a:t> derived from fitted </a:t>
                </a:r>
                <a:r>
                  <a:rPr lang="en-US" sz="1200" b="1" dirty="0">
                    <a:solidFill>
                      <a:schemeClr val="tx1"/>
                    </a:solidFill>
                    <a:latin typeface="+mn-lt"/>
                    <a:cs typeface="Arial" panose="020B0604020202020204" pitchFamily="34" charset="0"/>
                  </a:rPr>
                  <a:t>gamma</a:t>
                </a:r>
                <a:r>
                  <a:rPr lang="en-US" sz="1200" dirty="0">
                    <a:solidFill>
                      <a:schemeClr val="tx1"/>
                    </a:solidFill>
                    <a:latin typeface="+mn-lt"/>
                    <a:cs typeface="Arial" panose="020B0604020202020204" pitchFamily="34" charset="0"/>
                  </a:rPr>
                  <a:t> </a:t>
                </a:r>
                <a:r>
                  <a:rPr lang="en-US" sz="1200" b="1" dirty="0">
                    <a:solidFill>
                      <a:schemeClr val="tx1"/>
                    </a:solidFill>
                    <a:latin typeface="+mn-lt"/>
                    <a:cs typeface="Arial" panose="020B0604020202020204" pitchFamily="34" charset="0"/>
                  </a:rPr>
                  <a:t>distributions</a:t>
                </a:r>
                <a:r>
                  <a:rPr lang="en-US" sz="1200" dirty="0">
                    <a:solidFill>
                      <a:schemeClr val="tx1"/>
                    </a:solidFill>
                    <a:latin typeface="+mn-lt"/>
                    <a:cs typeface="Arial" panose="020B0604020202020204" pitchFamily="34" charset="0"/>
                  </a:rPr>
                  <a:t>.</a:t>
                </a:r>
              </a:p>
              <a:p>
                <a:endParaRPr lang="en-US" sz="1200" dirty="0">
                  <a:solidFill>
                    <a:schemeClr val="tx1"/>
                  </a:solidFill>
                  <a:latin typeface="+mn-lt"/>
                  <a:cs typeface="Arial" panose="020B0604020202020204" pitchFamily="34" charset="0"/>
                </a:endParaRPr>
              </a:p>
              <a:p>
                <a:r>
                  <a:rPr lang="en-US" sz="1200" dirty="0">
                    <a:solidFill>
                      <a:schemeClr val="tx1"/>
                    </a:solidFill>
                    <a:latin typeface="+mn-lt"/>
                    <a:cs typeface="Arial" panose="020B0604020202020204" pitchFamily="34" charset="0"/>
                  </a:rPr>
                  <a:t>Due to data scarcity, f</a:t>
                </a:r>
                <a:r>
                  <a:rPr lang="en-US" sz="1200" dirty="0">
                    <a:latin typeface="+mn-lt"/>
                  </a:rPr>
                  <a:t>itting such distributions was not feasible</a:t>
                </a:r>
                <a:r>
                  <a:rPr lang="en-US" sz="1200" dirty="0"/>
                  <a:t>: </a:t>
                </a:r>
                <a:r>
                  <a:rPr lang="en-US" sz="1200" dirty="0">
                    <a:solidFill>
                      <a:schemeClr val="tx1"/>
                    </a:solidFill>
                    <a:latin typeface="+mn-lt"/>
                    <a:cs typeface="Arial" panose="020B0604020202020204" pitchFamily="34" charset="0"/>
                  </a:rPr>
                  <a:t>we relied on raw </a:t>
                </a:r>
                <a:r>
                  <a:rPr lang="en-US" sz="1200" b="1" dirty="0">
                    <a:solidFill>
                      <a:schemeClr val="tx1"/>
                    </a:solidFill>
                    <a:latin typeface="+mn-lt"/>
                    <a:cs typeface="Arial" panose="020B0604020202020204" pitchFamily="34" charset="0"/>
                  </a:rPr>
                  <a:t>quantiles</a:t>
                </a:r>
                <a:r>
                  <a:rPr lang="en-US" sz="1200" dirty="0">
                    <a:solidFill>
                      <a:schemeClr val="tx1"/>
                    </a:solidFill>
                    <a:latin typeface="+mn-lt"/>
                    <a:cs typeface="Arial" panose="020B0604020202020204" pitchFamily="34" charset="0"/>
                  </a:rPr>
                  <a:t> of </a:t>
                </a:r>
                <a:r>
                  <a:rPr lang="en-US" sz="1200" b="1" dirty="0">
                    <a:solidFill>
                      <a:schemeClr val="tx1"/>
                    </a:solidFill>
                    <a:latin typeface="+mn-lt"/>
                    <a:cs typeface="Arial" panose="020B0604020202020204" pitchFamily="34" charset="0"/>
                  </a:rPr>
                  <a:t>empirical</a:t>
                </a:r>
                <a:r>
                  <a:rPr lang="en-US" sz="1200" dirty="0">
                    <a:solidFill>
                      <a:schemeClr val="tx1"/>
                    </a:solidFill>
                    <a:latin typeface="+mn-lt"/>
                    <a:cs typeface="Arial" panose="020B0604020202020204" pitchFamily="34" charset="0"/>
                  </a:rPr>
                  <a:t> </a:t>
                </a:r>
                <a:r>
                  <a:rPr lang="en-US" sz="1200" b="1" dirty="0">
                    <a:solidFill>
                      <a:schemeClr val="tx1"/>
                    </a:solidFill>
                    <a:latin typeface="+mn-lt"/>
                    <a:cs typeface="Arial" panose="020B0604020202020204" pitchFamily="34" charset="0"/>
                  </a:rPr>
                  <a:t>distributions</a:t>
                </a:r>
                <a:r>
                  <a:rPr lang="en-US" sz="1200" dirty="0">
                    <a:solidFill>
                      <a:schemeClr val="tx1"/>
                    </a:solidFill>
                    <a:latin typeface="+mn-lt"/>
                    <a:cs typeface="Arial" panose="020B0604020202020204" pitchFamily="34" charset="0"/>
                  </a:rPr>
                  <a:t> instead.</a:t>
                </a:r>
              </a:p>
              <a:p>
                <a:endParaRPr lang="en-US" sz="1200" dirty="0">
                  <a:solidFill>
                    <a:schemeClr val="tx1"/>
                  </a:solidFill>
                  <a:latin typeface="+mn-lt"/>
                  <a:cs typeface="Arial" panose="020B0604020202020204" pitchFamily="34" charset="0"/>
                </a:endParaRPr>
              </a:p>
              <a:p>
                <a:endParaRPr lang="en-US" sz="1200" dirty="0">
                  <a:solidFill>
                    <a:schemeClr val="tx1"/>
                  </a:solidFill>
                  <a:latin typeface="+mn-lt"/>
                  <a:cs typeface="Arial" panose="020B0604020202020204" pitchFamily="34" charset="0"/>
                </a:endParaRPr>
              </a:p>
              <a:p>
                <a:r>
                  <a:rPr lang="en-US" sz="1200" dirty="0">
                    <a:solidFill>
                      <a:schemeClr val="tx1"/>
                    </a:solidFill>
                    <a:latin typeface="+mn-lt"/>
                    <a:cs typeface="Arial" panose="020B0604020202020204" pitchFamily="34" charset="0"/>
                  </a:rPr>
                  <a:t>Given a </a:t>
                </a:r>
                <a:r>
                  <a:rPr lang="en-US" sz="1200" b="1" dirty="0">
                    <a:solidFill>
                      <a:schemeClr val="tx1"/>
                    </a:solidFill>
                    <a:latin typeface="+mn-lt"/>
                    <a:cs typeface="Arial" panose="020B0604020202020204" pitchFamily="34" charset="0"/>
                  </a:rPr>
                  <a:t>confidence</a:t>
                </a:r>
                <a:r>
                  <a:rPr lang="en-US" sz="1200" dirty="0">
                    <a:solidFill>
                      <a:schemeClr val="tx1"/>
                    </a:solidFill>
                    <a:latin typeface="+mn-lt"/>
                    <a:cs typeface="Arial" panose="020B0604020202020204" pitchFamily="34" charset="0"/>
                  </a:rPr>
                  <a:t> </a:t>
                </a:r>
                <a:r>
                  <a:rPr lang="en-US" sz="1200" b="1" dirty="0">
                    <a:solidFill>
                      <a:schemeClr val="tx1"/>
                    </a:solidFill>
                    <a:latin typeface="+mn-lt"/>
                    <a:cs typeface="Arial" panose="020B0604020202020204" pitchFamily="34" charset="0"/>
                  </a:rPr>
                  <a:t>level</a:t>
                </a:r>
                <a:r>
                  <a:rPr lang="en-US" sz="1200" dirty="0">
                    <a:solidFill>
                      <a:schemeClr val="tx1"/>
                    </a:solidFill>
                    <a:latin typeface="+mn-lt"/>
                    <a:cs typeface="Arial" panose="020B060402020202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l-GR" sz="1100" i="1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rPr>
                      <m:t>𝛽</m:t>
                    </m:r>
                  </m:oMath>
                </a14:m>
                <a:r>
                  <a:rPr lang="en-US" sz="1200" dirty="0">
                    <a:solidFill>
                      <a:schemeClr val="tx1"/>
                    </a:solidFill>
                    <a:latin typeface="+mn-lt"/>
                    <a:cs typeface="Arial" panose="020B0604020202020204" pitchFamily="34" charset="0"/>
                  </a:rPr>
                  <a:t> (or </a:t>
                </a:r>
                <a:r>
                  <a:rPr lang="en-US" sz="1200" b="1" dirty="0">
                    <a:solidFill>
                      <a:schemeClr val="tx1"/>
                    </a:solidFill>
                    <a:latin typeface="+mn-lt"/>
                    <a:cs typeface="Arial" panose="020B0604020202020204" pitchFamily="34" charset="0"/>
                  </a:rPr>
                  <a:t>significance</a:t>
                </a:r>
                <a:r>
                  <a:rPr lang="en-US" sz="1200" b="0" dirty="0">
                    <a:solidFill>
                      <a:schemeClr val="tx1"/>
                    </a:solidFill>
                    <a:latin typeface="+mn-lt"/>
                    <a:cs typeface="Arial" panose="020B0604020202020204" pitchFamily="34" charset="0"/>
                  </a:rPr>
                  <a:t> </a:t>
                </a:r>
                <a:r>
                  <a:rPr lang="en-US" sz="1200" b="1" dirty="0">
                    <a:solidFill>
                      <a:schemeClr val="tx1"/>
                    </a:solidFill>
                    <a:latin typeface="+mn-lt"/>
                    <a:cs typeface="Arial" panose="020B0604020202020204" pitchFamily="34" charset="0"/>
                  </a:rPr>
                  <a:t>level</a:t>
                </a:r>
                <a:r>
                  <a:rPr lang="en-US" sz="1200" b="0" dirty="0">
                    <a:solidFill>
                      <a:schemeClr val="tx1"/>
                    </a:solidFill>
                    <a:latin typeface="+mn-lt"/>
                    <a:cs typeface="Arial" panose="020B060402020202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US" sz="110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  <a:sym typeface="Wingdings" panose="05000000000000000000" pitchFamily="2" charset="2"/>
                      </a:rPr>
                      <m:t>(</m:t>
                    </m:r>
                    <m:r>
                      <a:rPr lang="en-US" sz="1100" i="1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  <a:sym typeface="Wingdings" panose="05000000000000000000" pitchFamily="2" charset="2"/>
                      </a:rPr>
                      <m:t>1−</m:t>
                    </m:r>
                    <m:r>
                      <a:rPr lang="en-US" sz="1100" i="1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  <a:sym typeface="Wingdings" panose="05000000000000000000" pitchFamily="2" charset="2"/>
                      </a:rPr>
                      <m:t>𝛽</m:t>
                    </m:r>
                    <m:r>
                      <a:rPr lang="en-US" sz="1100" i="1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  <a:sym typeface="Wingdings" panose="05000000000000000000" pitchFamily="2" charset="2"/>
                      </a:rPr>
                      <m:t>)</m:t>
                    </m:r>
                  </m:oMath>
                </a14:m>
                <a:r>
                  <a:rPr lang="en-US" sz="1200" dirty="0">
                    <a:solidFill>
                      <a:schemeClr val="tx1"/>
                    </a:solidFill>
                    <a:latin typeface="+mn-lt"/>
                    <a:cs typeface="Arial" panose="020B0604020202020204" pitchFamily="34" charset="0"/>
                  </a:rPr>
                  <a:t>), the time interval corresponds to the </a:t>
                </a:r>
              </a:p>
              <a:p>
                <a14:m>
                  <m:oMath xmlns:m="http://schemas.openxmlformats.org/officeDocument/2006/math">
                    <m:f>
                      <m:fPr>
                        <m:ctrlPr>
                          <a:rPr lang="en-US" sz="1200" i="1">
                            <a:solidFill>
                              <a:schemeClr val="tx1"/>
                            </a:solidFill>
                            <a:latin typeface="+mn-lt"/>
                            <a:cs typeface="Arial" panose="020B0604020202020204" pitchFamily="34" charset="0"/>
                          </a:rPr>
                        </m:ctrlPr>
                      </m:fPr>
                      <m:num>
                        <m:d>
                          <m:dPr>
                            <m:ctrlPr>
                              <a:rPr lang="en-US" sz="1200" i="1">
                                <a:solidFill>
                                  <a:schemeClr val="tx1"/>
                                </a:solidFill>
                                <a:latin typeface="+mn-lt"/>
                                <a:cs typeface="Arial" panose="020B0604020202020204" pitchFamily="34" charset="0"/>
                              </a:rPr>
                            </m:ctrlPr>
                          </m:dPr>
                          <m:e>
                            <m:r>
                              <a:rPr lang="en-US" sz="1200" i="1">
                                <a:solidFill>
                                  <a:schemeClr val="tx1"/>
                                </a:solidFill>
                                <a:latin typeface="+mn-lt"/>
                                <a:cs typeface="Arial" panose="020B0604020202020204" pitchFamily="34" charset="0"/>
                              </a:rPr>
                              <m:t>1−</m:t>
                            </m:r>
                            <m:r>
                              <a:rPr lang="en-US" sz="1200" i="1">
                                <a:solidFill>
                                  <a:schemeClr val="tx1"/>
                                </a:solidFill>
                                <a:latin typeface="+mn-lt"/>
                                <a:cs typeface="Arial" panose="020B0604020202020204" pitchFamily="34" charset="0"/>
                              </a:rPr>
                              <m:t>𝛽</m:t>
                            </m:r>
                          </m:e>
                        </m:d>
                      </m:num>
                      <m:den>
                        <m:r>
                          <a:rPr lang="en-US" sz="1200" i="1">
                            <a:solidFill>
                              <a:schemeClr val="tx1"/>
                            </a:solidFill>
                            <a:latin typeface="+mn-lt"/>
                            <a:cs typeface="Arial" panose="020B0604020202020204" pitchFamily="34" charset="0"/>
                          </a:rPr>
                          <m:t>2</m:t>
                        </m:r>
                      </m:den>
                    </m:f>
                  </m:oMath>
                </a14:m>
                <a:r>
                  <a:rPr lang="en-US" sz="1200" dirty="0">
                    <a:solidFill>
                      <a:schemeClr val="tx1"/>
                    </a:solidFill>
                    <a:latin typeface="+mn-lt"/>
                    <a:cs typeface="Arial" panose="020B0604020202020204" pitchFamily="34" charset="0"/>
                  </a:rPr>
                  <a:t> and </a:t>
                </a:r>
                <a14:m>
                  <m:oMath xmlns:m="http://schemas.openxmlformats.org/officeDocument/2006/math">
                    <m:r>
                      <a:rPr lang="en-US" sz="1200" i="1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rPr>
                      <m:t>1−</m:t>
                    </m:r>
                    <m:f>
                      <m:fPr>
                        <m:ctrlPr>
                          <a:rPr lang="en-US" sz="1200" i="1">
                            <a:solidFill>
                              <a:schemeClr val="tx1"/>
                            </a:solidFill>
                            <a:latin typeface="+mn-lt"/>
                            <a:cs typeface="Arial" panose="020B0604020202020204" pitchFamily="34" charset="0"/>
                          </a:rPr>
                        </m:ctrlPr>
                      </m:fPr>
                      <m:num>
                        <m:r>
                          <a:rPr lang="en-US" sz="1200" i="1">
                            <a:solidFill>
                              <a:schemeClr val="tx1"/>
                            </a:solidFill>
                            <a:latin typeface="+mn-lt"/>
                            <a:cs typeface="Arial" panose="020B0604020202020204" pitchFamily="34" charset="0"/>
                          </a:rPr>
                          <m:t>1−</m:t>
                        </m:r>
                        <m:r>
                          <m:rPr>
                            <m:sty m:val="p"/>
                          </m:rPr>
                          <a:rPr lang="en-US" sz="1200" i="1">
                            <a:solidFill>
                              <a:schemeClr val="tx1"/>
                            </a:solidFill>
                            <a:latin typeface="+mn-lt"/>
                            <a:cs typeface="Arial" panose="020B0604020202020204" pitchFamily="34" charset="0"/>
                          </a:rPr>
                          <m:t>β</m:t>
                        </m:r>
                      </m:num>
                      <m:den>
                        <m:r>
                          <a:rPr lang="en-US" sz="1200" i="1">
                            <a:solidFill>
                              <a:schemeClr val="tx1"/>
                            </a:solidFill>
                            <a:latin typeface="+mn-lt"/>
                            <a:cs typeface="Arial" panose="020B0604020202020204" pitchFamily="34" charset="0"/>
                          </a:rPr>
                          <m:t>2</m:t>
                        </m:r>
                      </m:den>
                    </m:f>
                  </m:oMath>
                </a14:m>
                <a:r>
                  <a:rPr lang="en-US" sz="1200" dirty="0">
                    <a:solidFill>
                      <a:schemeClr val="tx1"/>
                    </a:solidFill>
                    <a:latin typeface="+mn-lt"/>
                    <a:cs typeface="Arial" panose="020B0604020202020204" pitchFamily="34" charset="0"/>
                  </a:rPr>
                  <a:t> </a:t>
                </a:r>
                <a:r>
                  <a:rPr lang="en-US" sz="1200" b="1" dirty="0">
                    <a:solidFill>
                      <a:schemeClr val="tx1"/>
                    </a:solidFill>
                    <a:latin typeface="+mn-lt"/>
                    <a:cs typeface="Arial" panose="020B0604020202020204" pitchFamily="34" charset="0"/>
                  </a:rPr>
                  <a:t>percentiles</a:t>
                </a:r>
                <a:r>
                  <a:rPr lang="en-US" sz="1200" dirty="0">
                    <a:solidFill>
                      <a:schemeClr val="tx1"/>
                    </a:solidFill>
                    <a:latin typeface="+mn-lt"/>
                    <a:cs typeface="Arial" panose="020B0604020202020204" pitchFamily="34" charset="0"/>
                  </a:rPr>
                  <a:t> of the distribution.</a:t>
                </a:r>
                <a:endParaRPr lang="en-US" sz="1200" b="0" dirty="0">
                  <a:solidFill>
                    <a:schemeClr val="tx1"/>
                  </a:solidFill>
                  <a:latin typeface="+mn-lt"/>
                  <a:cs typeface="Arial" panose="020B0604020202020204" pitchFamily="34" charset="0"/>
                </a:endParaRPr>
              </a:p>
              <a:p>
                <a:endParaRPr lang="it-IT" sz="1200" i="1" noProof="1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endParaRPr lang="en-US" sz="1200" dirty="0">
                  <a:solidFill>
                    <a:schemeClr val="tx1"/>
                  </a:solidFill>
                  <a:latin typeface="+mn-lt"/>
                  <a:cs typeface="Arial" panose="020B0604020202020204" pitchFamily="34" charset="0"/>
                </a:endParaRPr>
              </a:p>
              <a:p>
                <a:endParaRPr lang="en-US" sz="1200" dirty="0">
                  <a:solidFill>
                    <a:srgbClr val="125E4B"/>
                  </a:solidFill>
                </a:endParaRPr>
              </a:p>
              <a:p>
                <a:endParaRPr lang="en-US" dirty="0"/>
              </a:p>
            </p:txBody>
          </p:sp>
        </mc:Choice>
        <mc:Fallback>
          <p:sp>
            <p:nvSpPr>
              <p:cNvPr id="36" name="TextBox 35">
                <a:extLst>
                  <a:ext uri="{FF2B5EF4-FFF2-40B4-BE49-F238E27FC236}">
                    <a16:creationId xmlns:a16="http://schemas.microsoft.com/office/drawing/2014/main" id="{8FC020BE-EBF6-3DBA-EBB6-D94934C2679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42896" y="1368600"/>
                <a:ext cx="3494813" cy="3183885"/>
              </a:xfrm>
              <a:prstGeom prst="rect">
                <a:avLst/>
              </a:prstGeom>
              <a:blipFill>
                <a:blip r:embed="rId1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custDataLst>
      <p:tags r:id="rId1"/>
    </p:custDataLst>
    <p:extLst>
      <p:ext uri="{BB962C8B-B14F-4D97-AF65-F5344CB8AC3E}">
        <p14:creationId xmlns:p14="http://schemas.microsoft.com/office/powerpoint/2010/main" val="352335169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897834A-A7DA-E4FD-5F8A-E9B9F47B17A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8AA94869-8DB6-24EE-7791-D4B378D0955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1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7772400" imgH="10058400" progId="TCLayout.ActiveDocument.1">
                  <p:embed/>
                </p:oleObj>
              </mc:Choice>
              <mc:Fallback>
                <p:oleObj name="think-cell Slide" r:id="rId8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AA94869-8DB6-24EE-7791-D4B378D095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92" y="1191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9CFCC872-CF2F-2B4B-3C72-D772CE49F120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 vert="horz" lIns="0" tIns="34290" rIns="0" bIns="3429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noProof="1"/>
              <a:t>TFST Weighting Factor Implementation (1)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57C64592-B1CF-F5A2-9CF8-FEF4CC960F56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342900" y="255537"/>
            <a:ext cx="8455819" cy="155515"/>
          </a:xfrm>
          <a:prstGeom prst="rect">
            <a:avLst/>
          </a:prstGeom>
        </p:spPr>
        <p:txBody>
          <a:bodyPr vert="horz" lIns="0" tIns="0" rIns="68580" bIns="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000" cap="all" noProof="1">
                <a:solidFill>
                  <a:schemeClr val="accent1"/>
                </a:solidFill>
                <a:latin typeface="Aptos" panose="020B0004020202020204" pitchFamily="34" charset="0"/>
              </a:rPr>
              <a:t>REALTIME INDICATORS</a:t>
            </a:r>
          </a:p>
        </p:txBody>
      </p:sp>
      <p:sp>
        <p:nvSpPr>
          <p:cNvPr id="2" name="Google Shape;10527;p9415">
            <a:extLst>
              <a:ext uri="{FF2B5EF4-FFF2-40B4-BE49-F238E27FC236}">
                <a16:creationId xmlns:a16="http://schemas.microsoft.com/office/drawing/2014/main" id="{0D2ABA2E-D00E-B288-069D-335888AB4B10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42898" y="997840"/>
            <a:ext cx="3886201" cy="28803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68580" tIns="34290" rIns="68580" bIns="34290" anchor="ctr" anchorCtr="0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ts val="1100"/>
            </a:pPr>
            <a:r>
              <a:rPr lang="en-US" sz="1400" noProof="1">
                <a:solidFill>
                  <a:schemeClr val="bg1"/>
                </a:solidFill>
                <a:latin typeface="+mj-lt"/>
              </a:rPr>
              <a:t>Objective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7EA9D79F-6AB0-7CD7-A3F3-572DA6AF619C}"/>
                  </a:ext>
                </a:extLst>
              </p:cNvPr>
              <p:cNvSpPr txBox="1"/>
              <p:nvPr/>
            </p:nvSpPr>
            <p:spPr>
              <a:xfrm>
                <a:off x="4672439" y="1291411"/>
                <a:ext cx="3886201" cy="245733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spcAft>
                    <a:spcPts val="600"/>
                  </a:spcAft>
                  <a:buClrTx/>
                </a:pPr>
                <a:r>
                  <a:rPr lang="en-US" sz="1200" noProof="1">
                    <a:latin typeface="+mn-lt"/>
                  </a:rPr>
                  <a:t>Implement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US" sz="1200" b="0" i="1" noProof="1" smtClean="0">
                        <a:latin typeface="Cambria Math" panose="02040503050406030204" pitchFamily="18" charset="0"/>
                      </a:rPr>
                      <m:t>α</m:t>
                    </m:r>
                  </m:oMath>
                </a14:m>
                <a:r>
                  <a:rPr lang="en-US" sz="1200" noProof="1">
                    <a:latin typeface="+mn-lt"/>
                  </a:rPr>
                  <a:t> as a </a:t>
                </a:r>
                <a:r>
                  <a:rPr lang="en-US" sz="1200" b="1" noProof="1">
                    <a:latin typeface="+mn-lt"/>
                  </a:rPr>
                  <a:t>non-increasing function </a:t>
                </a:r>
                <a:r>
                  <a:rPr lang="en-US" sz="1200" noProof="1">
                    <a:latin typeface="+mn-lt"/>
                  </a:rPr>
                  <a:t>of </a:t>
                </a:r>
                <a14:m>
                  <m:oMath xmlns:m="http://schemas.openxmlformats.org/officeDocument/2006/math">
                    <m:r>
                      <a:rPr lang="en-US" sz="1200" noProof="1">
                        <a:latin typeface="Cambria Math" panose="02040503050406030204" pitchFamily="18" charset="0"/>
                      </a:rPr>
                      <m:t> </m:t>
                    </m:r>
                    <m:r>
                      <m:rPr>
                        <m:sty m:val="p"/>
                      </m:rPr>
                      <a:rPr lang="en-US" sz="1200" i="1" noProof="1">
                        <a:latin typeface="Cambria Math" panose="02040503050406030204" pitchFamily="18" charset="0"/>
                      </a:rPr>
                      <m:t>τ</m:t>
                    </m:r>
                    <m:r>
                      <a:rPr lang="en-US" sz="1200" noProof="1">
                        <a:latin typeface="Cambria Math" panose="02040503050406030204" pitchFamily="18" charset="0"/>
                      </a:rPr>
                      <m:t>=</m:t>
                    </m:r>
                    <m:f>
                      <m:fPr>
                        <m:ctrlPr>
                          <a:rPr lang="en-US" sz="1200" i="1" noProof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m:rPr>
                            <m:sty m:val="p"/>
                          </m:rPr>
                          <a:rPr lang="en-US" sz="1200" i="1" noProof="1">
                            <a:latin typeface="Cambria Math" panose="02040503050406030204" pitchFamily="18" charset="0"/>
                          </a:rPr>
                          <m:t>t</m:t>
                        </m:r>
                      </m:num>
                      <m:den>
                        <m:r>
                          <m:rPr>
                            <m:sty m:val="p"/>
                          </m:rPr>
                          <a:rPr lang="en-US" sz="1200" noProof="1">
                            <a:latin typeface="Cambria Math" panose="02040503050406030204" pitchFamily="18" charset="0"/>
                          </a:rPr>
                          <m:t>S</m:t>
                        </m:r>
                        <m:sSub>
                          <m:sSubPr>
                            <m:ctrlPr>
                              <a:rPr lang="en-US" sz="1200" i="1" noProof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m:rPr>
                                <m:sty m:val="p"/>
                              </m:rPr>
                              <a:rPr lang="en-US" sz="1200" noProof="1">
                                <a:latin typeface="Cambria Math" panose="02040503050406030204" pitchFamily="18" charset="0"/>
                              </a:rPr>
                              <m:t>T</m:t>
                            </m:r>
                          </m:e>
                          <m:sub>
                            <m:r>
                              <a:rPr lang="en-US" sz="1200" i="1" noProof="1">
                                <a:latin typeface="Cambria Math" panose="02040503050406030204" pitchFamily="18" charset="0"/>
                              </a:rPr>
                              <m:t>𝜇</m:t>
                            </m:r>
                          </m:sub>
                        </m:sSub>
                        <m:r>
                          <a:rPr lang="en-US" sz="1200" i="1" noProof="1">
                            <a:latin typeface="Cambria Math" panose="02040503050406030204" pitchFamily="18" charset="0"/>
                          </a:rPr>
                          <m:t>(</m:t>
                        </m:r>
                        <m:r>
                          <m:rPr>
                            <m:sty m:val="p"/>
                          </m:rPr>
                          <a:rPr lang="en-US" sz="1200" i="1" noProof="1">
                            <a:latin typeface="Cambria Math" panose="02040503050406030204" pitchFamily="18" charset="0"/>
                          </a:rPr>
                          <m:t>s</m:t>
                        </m:r>
                        <m:r>
                          <a:rPr lang="en-US" sz="1200" i="1" noProof="1">
                            <a:latin typeface="Cambria Math" panose="02040503050406030204" pitchFamily="18" charset="0"/>
                          </a:rPr>
                          <m:t>, </m:t>
                        </m:r>
                        <m:r>
                          <m:rPr>
                            <m:sty m:val="p"/>
                          </m:rPr>
                          <a:rPr lang="en-US" sz="1200" i="1" noProof="1">
                            <a:latin typeface="Cambria Math" panose="02040503050406030204" pitchFamily="18" charset="0"/>
                          </a:rPr>
                          <m:t>c</m:t>
                        </m:r>
                        <m:r>
                          <a:rPr lang="en-US" sz="1200" i="1" noProof="1">
                            <a:latin typeface="Cambria Math" panose="02040503050406030204" pitchFamily="18" charset="0"/>
                          </a:rPr>
                          <m:t>)</m:t>
                        </m:r>
                      </m:den>
                    </m:f>
                  </m:oMath>
                </a14:m>
                <a:r>
                  <a:rPr lang="en-US" sz="1200" noProof="1"/>
                  <a:t>, </a:t>
                </a:r>
                <a:r>
                  <a:rPr lang="en-US" sz="1200" noProof="1">
                    <a:latin typeface="+mn-lt"/>
                  </a:rPr>
                  <a:t>expressing the </a:t>
                </a:r>
                <a:r>
                  <a:rPr lang="en-US" sz="1200" b="1" noProof="1">
                    <a:latin typeface="+mn-lt"/>
                  </a:rPr>
                  <a:t>elapsed</a:t>
                </a:r>
                <a:r>
                  <a:rPr lang="en-US" sz="1200" noProof="1">
                    <a:latin typeface="+mn-lt"/>
                  </a:rPr>
                  <a:t> </a:t>
                </a:r>
                <a:r>
                  <a:rPr lang="en-US" sz="1200" b="1" noProof="1">
                    <a:latin typeface="+mn-lt"/>
                  </a:rPr>
                  <a:t>proportion</a:t>
                </a:r>
                <a:r>
                  <a:rPr lang="en-US" sz="1200" noProof="1">
                    <a:latin typeface="+mn-lt"/>
                  </a:rPr>
                  <a:t> of </a:t>
                </a:r>
                <a:r>
                  <a:rPr lang="en-US" sz="1200" b="1" noProof="1">
                    <a:latin typeface="+mn-lt"/>
                  </a:rPr>
                  <a:t>expected</a:t>
                </a:r>
                <a:r>
                  <a:rPr lang="en-US" sz="1200" noProof="1">
                    <a:latin typeface="+mn-lt"/>
                  </a:rPr>
                  <a:t> </a:t>
                </a:r>
                <a:r>
                  <a:rPr lang="en-US" sz="1200" b="1" noProof="1">
                    <a:latin typeface="+mn-lt"/>
                  </a:rPr>
                  <a:t>shipment</a:t>
                </a:r>
                <a:r>
                  <a:rPr lang="en-US" sz="1200" noProof="1">
                    <a:latin typeface="+mn-lt"/>
                  </a:rPr>
                  <a:t> </a:t>
                </a:r>
                <a:r>
                  <a:rPr lang="en-US" sz="1200" b="1" noProof="1">
                    <a:latin typeface="+mn-lt"/>
                  </a:rPr>
                  <a:t>time</a:t>
                </a:r>
                <a:r>
                  <a:rPr lang="en-US" sz="1200" noProof="1">
                    <a:latin typeface="+mn-lt"/>
                  </a:rPr>
                  <a:t>.</a:t>
                </a:r>
              </a:p>
              <a:p>
                <a:pPr>
                  <a:spcAft>
                    <a:spcPts val="600"/>
                  </a:spcAft>
                  <a:buClrTx/>
                </a:pPr>
                <a:endParaRPr lang="en-US" sz="1200" noProof="1">
                  <a:latin typeface="+mn-lt"/>
                </a:endParaRPr>
              </a:p>
              <a:p>
                <a:pPr>
                  <a:spcAft>
                    <a:spcPts val="600"/>
                  </a:spcAft>
                  <a:buClrTx/>
                </a:pPr>
                <a:r>
                  <a:rPr lang="en-US" sz="1200" noProof="1">
                    <a:latin typeface="+mn-lt"/>
                  </a:rPr>
                  <a:t>Three proposed implementations:</a:t>
                </a:r>
              </a:p>
              <a:p>
                <a:pPr marL="228600" indent="-228600">
                  <a:spcAft>
                    <a:spcPts val="600"/>
                  </a:spcAft>
                  <a:buClrTx/>
                  <a:buFont typeface="+mj-lt"/>
                  <a:buAutoNum type="arabicPeriod"/>
                </a:pPr>
                <a:r>
                  <a:rPr lang="en-US" sz="1200" noProof="1">
                    <a:latin typeface="+mn-lt"/>
                  </a:rPr>
                  <a:t>Constant: </a:t>
                </a:r>
                <a14:m>
                  <m:oMath xmlns:m="http://schemas.openxmlformats.org/officeDocument/2006/math">
                    <m:r>
                      <a:rPr lang="en-US" sz="1200" i="1" noProof="1">
                        <a:latin typeface="Cambria Math" panose="02040503050406030204" pitchFamily="18" charset="0"/>
                      </a:rPr>
                      <m:t>𝛼</m:t>
                    </m:r>
                    <m:r>
                      <a:rPr lang="en-US" sz="1200" i="1" noProof="1"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sz="1200" i="1" noProof="1">
                        <a:latin typeface="Cambria Math" panose="02040503050406030204" pitchFamily="18" charset="0"/>
                      </a:rPr>
                      <m:t>𝑘</m:t>
                    </m:r>
                  </m:oMath>
                </a14:m>
                <a:endParaRPr lang="en-US" sz="1200" i="1" noProof="1"/>
              </a:p>
              <a:p>
                <a:pPr marL="228600" indent="-228600">
                  <a:spcAft>
                    <a:spcPts val="600"/>
                  </a:spcAft>
                  <a:buClrTx/>
                  <a:buFont typeface="+mj-lt"/>
                  <a:buAutoNum type="arabicPeriod"/>
                </a:pPr>
                <a:r>
                  <a:rPr lang="en-US" sz="1200" noProof="1">
                    <a:latin typeface="+mn-lt"/>
                  </a:rPr>
                  <a:t>Linear: </a:t>
                </a:r>
                <a14:m>
                  <m:oMath xmlns:m="http://schemas.openxmlformats.org/officeDocument/2006/math">
                    <m:r>
                      <a:rPr lang="en-US" sz="1200" b="0" i="1" noProof="1">
                        <a:latin typeface="Cambria Math" panose="02040503050406030204" pitchFamily="18" charset="0"/>
                      </a:rPr>
                      <m:t>𝛼</m:t>
                    </m:r>
                    <m:r>
                      <a:rPr lang="en-US" sz="1200" b="0" i="1" noProof="1">
                        <a:latin typeface="Cambria Math" panose="02040503050406030204" pitchFamily="18" charset="0"/>
                      </a:rPr>
                      <m:t>=</m:t>
                    </m:r>
                    <m:func>
                      <m:funcPr>
                        <m:ctrlPr>
                          <a:rPr lang="en-US" sz="1200" i="1" noProof="1">
                            <a:latin typeface="Cambria Math" panose="02040503050406030204" pitchFamily="18" charset="0"/>
                          </a:rPr>
                        </m:ctrlPr>
                      </m:funcPr>
                      <m:fName>
                        <m:r>
                          <a:rPr lang="en-US" sz="1200" b="0" i="1" noProof="1">
                            <a:latin typeface="Cambria Math" panose="02040503050406030204" pitchFamily="18" charset="0"/>
                          </a:rPr>
                          <m:t>𝑚𝑎𝑥</m:t>
                        </m:r>
                      </m:fName>
                      <m:e>
                        <m:r>
                          <a:rPr lang="en-US" sz="1200" b="0" i="1" noProof="1">
                            <a:latin typeface="Cambria Math" panose="02040503050406030204" pitchFamily="18" charset="0"/>
                          </a:rPr>
                          <m:t>(1 − </m:t>
                        </m:r>
                        <m:r>
                          <a:rPr lang="en-US" sz="1200" b="0" i="1" noProof="1">
                            <a:latin typeface="Cambria Math" panose="02040503050406030204" pitchFamily="18" charset="0"/>
                          </a:rPr>
                          <m:t>𝜏</m:t>
                        </m:r>
                        <m:r>
                          <a:rPr lang="en-US" sz="1200" b="0" i="1" noProof="1">
                            <a:latin typeface="Cambria Math" panose="02040503050406030204" pitchFamily="18" charset="0"/>
                          </a:rPr>
                          <m:t>,0)</m:t>
                        </m:r>
                      </m:e>
                    </m:func>
                  </m:oMath>
                </a14:m>
                <a:endParaRPr lang="en-US" sz="1200" noProof="1"/>
              </a:p>
              <a:p>
                <a:pPr marL="228600" indent="-228600">
                  <a:spcAft>
                    <a:spcPts val="600"/>
                  </a:spcAft>
                  <a:buClrTx/>
                  <a:buFont typeface="+mj-lt"/>
                  <a:buAutoNum type="arabicPeriod"/>
                </a:pPr>
                <a:r>
                  <a:rPr lang="en-US" sz="1200" noProof="1">
                    <a:latin typeface="+mn-lt"/>
                  </a:rPr>
                  <a:t>Polynomial</a:t>
                </a:r>
                <a:r>
                  <a:rPr lang="en-US" sz="1200" noProof="1"/>
                  <a:t>: </a:t>
                </a:r>
                <a14:m>
                  <m:oMath xmlns:m="http://schemas.openxmlformats.org/officeDocument/2006/math">
                    <m:r>
                      <a:rPr lang="en-US" sz="1200" i="1" noProof="1">
                        <a:latin typeface="Cambria Math" panose="02040503050406030204" pitchFamily="18" charset="0"/>
                      </a:rPr>
                      <m:t>𝛼</m:t>
                    </m:r>
                    <m:d>
                      <m:dPr>
                        <m:ctrlPr>
                          <a:rPr lang="en-US" sz="1200" i="1" noProof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sz="1200" i="1" noProof="1">
                            <a:latin typeface="Cambria Math" panose="02040503050406030204" pitchFamily="18" charset="0"/>
                          </a:rPr>
                          <m:t>𝜏</m:t>
                        </m:r>
                        <m:r>
                          <a:rPr lang="en-US" sz="1200" i="1" noProof="1">
                            <a:latin typeface="Cambria Math" panose="02040503050406030204" pitchFamily="18" charset="0"/>
                          </a:rPr>
                          <m:t>;</m:t>
                        </m:r>
                        <m:d>
                          <m:dPr>
                            <m:begChr m:val="⟨"/>
                            <m:endChr m:val="⟩"/>
                            <m:ctrlPr>
                              <a:rPr lang="en-US" sz="1200" i="1" noProof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US" sz="1200" i="1" noProof="1">
                                <a:latin typeface="Cambria Math" panose="02040503050406030204" pitchFamily="18" charset="0"/>
                              </a:rPr>
                              <m:t>𝑇𝑇</m:t>
                            </m:r>
                          </m:e>
                        </m:d>
                      </m:e>
                    </m:d>
                    <m:r>
                      <a:rPr lang="en-US" sz="1200" i="1" noProof="1">
                        <a:latin typeface="Cambria Math" panose="02040503050406030204" pitchFamily="18" charset="0"/>
                      </a:rPr>
                      <m:t>=</m:t>
                    </m:r>
                    <m:sSup>
                      <m:sSupPr>
                        <m:ctrlPr>
                          <a:rPr lang="en-US" sz="1200" i="1" noProof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d>
                          <m:dPr>
                            <m:ctrlPr>
                              <a:rPr lang="en-US" sz="1200" i="1" noProof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US" sz="1200" i="1" noProof="1">
                                <a:latin typeface="Cambria Math" panose="02040503050406030204" pitchFamily="18" charset="0"/>
                              </a:rPr>
                              <m:t>1−</m:t>
                            </m:r>
                            <m:r>
                              <a:rPr lang="en-US" sz="1200" i="1" noProof="1">
                                <a:latin typeface="Cambria Math" panose="02040503050406030204" pitchFamily="18" charset="0"/>
                              </a:rPr>
                              <m:t>𝜏</m:t>
                            </m:r>
                          </m:e>
                        </m:d>
                      </m:e>
                      <m:sup>
                        <m:r>
                          <a:rPr lang="en-US" sz="1200" i="1" noProof="1">
                            <a:latin typeface="Cambria Math" panose="02040503050406030204" pitchFamily="18" charset="0"/>
                          </a:rPr>
                          <m:t>𝑞</m:t>
                        </m:r>
                      </m:sup>
                    </m:sSup>
                    <m:r>
                      <a:rPr lang="en-US" sz="1200" i="1" noProof="1">
                        <a:latin typeface="Cambria Math" panose="02040503050406030204" pitchFamily="18" charset="0"/>
                      </a:rPr>
                      <m:t>, </m:t>
                    </m:r>
                    <m:r>
                      <a:rPr lang="en-US" sz="1200" b="0" i="1" noProof="1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sz="1200" i="1" noProof="1">
                        <a:latin typeface="Cambria Math" panose="02040503050406030204" pitchFamily="18" charset="0"/>
                      </a:rPr>
                      <m:t>𝑞</m:t>
                    </m:r>
                    <m:r>
                      <a:rPr lang="en-US" sz="1200" i="1" noProof="1">
                        <a:latin typeface="Cambria Math" panose="02040503050406030204" pitchFamily="18" charset="0"/>
                      </a:rPr>
                      <m:t>=</m:t>
                    </m:r>
                    <m:f>
                      <m:fPr>
                        <m:ctrlPr>
                          <a:rPr lang="en-US" sz="1200" i="1" noProof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200" i="1" noProof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d>
                          <m:dPr>
                            <m:begChr m:val="⟨"/>
                            <m:endChr m:val="⟩"/>
                            <m:ctrlPr>
                              <a:rPr lang="en-US" sz="1200" i="1" noProof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US" sz="1200" i="1" noProof="1">
                                <a:latin typeface="Cambria Math" panose="02040503050406030204" pitchFamily="18" charset="0"/>
                              </a:rPr>
                              <m:t>𝑇𝑇</m:t>
                            </m:r>
                          </m:e>
                        </m:d>
                      </m:den>
                    </m:f>
                    <m:r>
                      <a:rPr lang="en-US" sz="1200" i="1" noProof="1">
                        <a:latin typeface="Cambria Math" panose="02040503050406030204" pitchFamily="18" charset="0"/>
                      </a:rPr>
                      <m:t>−1</m:t>
                    </m:r>
                  </m:oMath>
                </a14:m>
                <a:endParaRPr lang="en-US" sz="1200" noProof="1"/>
              </a:p>
              <a:p>
                <a:endParaRPr lang="en-US" dirty="0"/>
              </a:p>
            </p:txBody>
          </p:sp>
        </mc:Choice>
        <mc:Fallback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7EA9D79F-6AB0-7CD7-A3F3-572DA6AF619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672439" y="1291411"/>
                <a:ext cx="3886201" cy="2457339"/>
              </a:xfrm>
              <a:prstGeom prst="rect">
                <a:avLst/>
              </a:prstGeom>
              <a:blipFill>
                <a:blip r:embed="rId1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3" name="Google Shape;10527;p9415">
            <a:extLst>
              <a:ext uri="{FF2B5EF4-FFF2-40B4-BE49-F238E27FC236}">
                <a16:creationId xmlns:a16="http://schemas.microsoft.com/office/drawing/2014/main" id="{FA7FB2D8-B23E-0154-DC1B-672992B49514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4672440" y="997840"/>
            <a:ext cx="3886201" cy="28803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68580" tIns="34290" rIns="68580" bIns="34290" anchor="ctr" anchorCtr="0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ts val="1100"/>
            </a:pPr>
            <a:r>
              <a:rPr lang="en-US" sz="1400" noProof="1">
                <a:solidFill>
                  <a:schemeClr val="bg1"/>
                </a:solidFill>
                <a:latin typeface="+mj-lt"/>
              </a:rPr>
              <a:t>Solution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5A796EF3-2394-6F1E-1FC0-68E0AEAE698F}"/>
                  </a:ext>
                </a:extLst>
              </p:cNvPr>
              <p:cNvSpPr txBox="1"/>
              <p:nvPr/>
            </p:nvSpPr>
            <p:spPr>
              <a:xfrm>
                <a:off x="3241368" y="4013645"/>
                <a:ext cx="2658881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en-US" b="1" i="1">
                          <a:latin typeface="Cambria Math" panose="02040503050406030204" pitchFamily="18" charset="0"/>
                        </a:rPr>
                        <m:t>TFST</m:t>
                      </m:r>
                      <m:r>
                        <a:rPr lang="en-US" b="1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m:rPr>
                          <m:sty m:val="p"/>
                        </m:rPr>
                        <a:rPr lang="en-US" b="1" i="1">
                          <a:latin typeface="Cambria Math" panose="02040503050406030204" pitchFamily="18" charset="0"/>
                        </a:rPr>
                        <m:t>α</m:t>
                      </m:r>
                      <m:r>
                        <a:rPr lang="en-US" b="1" i="1">
                          <a:latin typeface="Cambria Math" panose="02040503050406030204" pitchFamily="18" charset="0"/>
                        </a:rPr>
                        <m:t>⋅</m:t>
                      </m:r>
                      <m:r>
                        <m:rPr>
                          <m:sty m:val="p"/>
                        </m:rPr>
                        <a:rPr lang="en-US" b="1" i="1">
                          <a:latin typeface="Cambria Math" panose="02040503050406030204" pitchFamily="18" charset="0"/>
                        </a:rPr>
                        <m:t>TT</m:t>
                      </m:r>
                      <m:r>
                        <a:rPr lang="en-US" b="1" i="1">
                          <a:latin typeface="Cambria Math" panose="02040503050406030204" pitchFamily="18" charset="0"/>
                        </a:rPr>
                        <m:t>+(1−</m:t>
                      </m:r>
                      <m:r>
                        <m:rPr>
                          <m:sty m:val="p"/>
                        </m:rPr>
                        <a:rPr lang="en-US" b="1" i="1">
                          <a:latin typeface="Cambria Math" panose="02040503050406030204" pitchFamily="18" charset="0"/>
                        </a:rPr>
                        <m:t>α</m:t>
                      </m:r>
                      <m:r>
                        <a:rPr lang="en-US" b="1" i="1">
                          <a:latin typeface="Cambria Math" panose="02040503050406030204" pitchFamily="18" charset="0"/>
                        </a:rPr>
                        <m:t>)⋅</m:t>
                      </m:r>
                      <m:r>
                        <m:rPr>
                          <m:sty m:val="p"/>
                        </m:rPr>
                        <a:rPr lang="en-US" b="1" i="1">
                          <a:latin typeface="Cambria Math" panose="02040503050406030204" pitchFamily="18" charset="0"/>
                        </a:rPr>
                        <m:t>PT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5A796EF3-2394-6F1E-1FC0-68E0AEAE698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241368" y="4013645"/>
                <a:ext cx="2658881" cy="307777"/>
              </a:xfrm>
              <a:prstGeom prst="rect">
                <a:avLst/>
              </a:prstGeom>
              <a:blipFill>
                <a:blip r:embed="rId11"/>
                <a:stretch>
                  <a:fillRect b="-784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81A05424-B213-DC0E-7D7C-0C28DDA7031F}"/>
                  </a:ext>
                </a:extLst>
              </p:cNvPr>
              <p:cNvSpPr txBox="1"/>
              <p:nvPr/>
            </p:nvSpPr>
            <p:spPr>
              <a:xfrm>
                <a:off x="342898" y="1285876"/>
                <a:ext cx="3938157" cy="230832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200" b="1" dirty="0">
                    <a:latin typeface="+mn-lt"/>
                  </a:rPr>
                  <a:t>Transit Time</a:t>
                </a:r>
                <a:r>
                  <a:rPr lang="en-US" sz="1200" dirty="0">
                    <a:latin typeface="+mn-lt"/>
                  </a:rPr>
                  <a:t> (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US" sz="1200" i="0">
                        <a:latin typeface="Cambria Math" panose="02040503050406030204" pitchFamily="18" charset="0"/>
                      </a:rPr>
                      <m:t>TT</m:t>
                    </m:r>
                  </m:oMath>
                </a14:m>
                <a:r>
                  <a:rPr lang="en-US" sz="1200" dirty="0">
                    <a:latin typeface="+mn-lt"/>
                  </a:rPr>
                  <a:t>): effective for on-time shipments; unable to manage advances or delays.</a:t>
                </a:r>
              </a:p>
              <a:p>
                <a:endParaRPr lang="en-US" sz="1200" b="1" dirty="0">
                  <a:latin typeface="+mn-lt"/>
                </a:endParaRPr>
              </a:p>
              <a:p>
                <a:r>
                  <a:rPr lang="en-US" sz="1200" b="1" dirty="0">
                    <a:latin typeface="+mn-lt"/>
                  </a:rPr>
                  <a:t>Path Time</a:t>
                </a:r>
                <a:r>
                  <a:rPr lang="en-US" sz="1200" dirty="0">
                    <a:latin typeface="+mn-lt"/>
                  </a:rPr>
                  <a:t> (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US" sz="1200" i="0" dirty="0">
                        <a:latin typeface="Cambria Math" panose="02040503050406030204" pitchFamily="18" charset="0"/>
                      </a:rPr>
                      <m:t>P</m:t>
                    </m:r>
                    <m:r>
                      <m:rPr>
                        <m:sty m:val="p"/>
                      </m:rPr>
                      <a:rPr lang="en-US" sz="1200" i="0">
                        <a:latin typeface="Cambria Math" panose="02040503050406030204" pitchFamily="18" charset="0"/>
                      </a:rPr>
                      <m:t>T</m:t>
                    </m:r>
                  </m:oMath>
                </a14:m>
                <a:r>
                  <a:rPr lang="en-US" sz="1200" dirty="0">
                    <a:latin typeface="+mn-lt"/>
                  </a:rPr>
                  <a:t>): high uncertainty at the start; able to handle advances and delays.</a:t>
                </a:r>
              </a:p>
              <a:p>
                <a:endParaRPr lang="en-US" sz="1200" dirty="0">
                  <a:latin typeface="+mn-lt"/>
                </a:endParaRPr>
              </a:p>
              <a:p>
                <a:r>
                  <a:rPr lang="en-US" sz="1200" dirty="0">
                    <a:latin typeface="+mn-lt"/>
                  </a:rPr>
                  <a:t>Implement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US" sz="1200" b="0" i="1" smtClean="0">
                        <a:latin typeface="Cambria Math" panose="02040503050406030204" pitchFamily="18" charset="0"/>
                      </a:rPr>
                      <m:t>α</m:t>
                    </m:r>
                  </m:oMath>
                </a14:m>
                <a:r>
                  <a:rPr lang="en-US" sz="1200" dirty="0">
                    <a:latin typeface="+mn-lt"/>
                  </a:rPr>
                  <a:t> to:</a:t>
                </a:r>
              </a:p>
              <a:p>
                <a:pPr marL="171450" indent="-171450">
                  <a:buFont typeface="Arial" panose="020B0604020202020204" pitchFamily="34" charset="0"/>
                  <a:buChar char="•"/>
                </a:pPr>
                <a:r>
                  <a:rPr lang="en-US" sz="1200" b="1" dirty="0">
                    <a:latin typeface="+mn-lt"/>
                  </a:rPr>
                  <a:t>Early phase:</a:t>
                </a:r>
                <a:r>
                  <a:rPr lang="en-US" sz="1200" dirty="0">
                    <a:latin typeface="+mn-lt"/>
                  </a:rPr>
                  <a:t> prioritize </a:t>
                </a:r>
                <a:r>
                  <a:rPr lang="en-US" sz="1200" b="1" dirty="0">
                    <a:latin typeface="+mn-lt"/>
                  </a:rPr>
                  <a:t>Transit Time</a:t>
                </a:r>
                <a:r>
                  <a:rPr lang="en-US" sz="1200" dirty="0">
                    <a:latin typeface="+mn-lt"/>
                  </a:rPr>
                  <a:t> to manage higher uncertainty and limited timing deviations.</a:t>
                </a:r>
                <a:endParaRPr lang="en-US" sz="1200" b="1" dirty="0">
                  <a:latin typeface="+mn-lt"/>
                </a:endParaRPr>
              </a:p>
              <a:p>
                <a:pPr marL="171450" indent="-171450">
                  <a:buFont typeface="Arial" panose="020B0604020202020204" pitchFamily="34" charset="0"/>
                  <a:buChar char="•"/>
                </a:pPr>
                <a:endParaRPr lang="en-US" sz="1200" dirty="0">
                  <a:latin typeface="+mn-lt"/>
                </a:endParaRPr>
              </a:p>
              <a:p>
                <a:pPr marL="171450" indent="-171450">
                  <a:buFont typeface="Arial" panose="020B0604020202020204" pitchFamily="34" charset="0"/>
                  <a:buChar char="•"/>
                </a:pPr>
                <a:r>
                  <a:rPr lang="en-US" sz="1200" b="1" dirty="0">
                    <a:latin typeface="+mn-lt"/>
                  </a:rPr>
                  <a:t>Progressing phase:</a:t>
                </a:r>
                <a:r>
                  <a:rPr lang="en-US" sz="1200" dirty="0">
                    <a:latin typeface="+mn-lt"/>
                  </a:rPr>
                  <a:t> prioritize </a:t>
                </a:r>
                <a:r>
                  <a:rPr lang="en-US" sz="1200" b="1" dirty="0">
                    <a:latin typeface="+mn-lt"/>
                  </a:rPr>
                  <a:t>Path Time</a:t>
                </a:r>
                <a:r>
                  <a:rPr lang="en-US" sz="1200" dirty="0">
                    <a:latin typeface="+mn-lt"/>
                  </a:rPr>
                  <a:t> as uncertainty decreases and timing deviations emerge</a:t>
                </a:r>
                <a:r>
                  <a:rPr lang="en-US" sz="1200" dirty="0"/>
                  <a:t>.</a:t>
                </a:r>
              </a:p>
            </p:txBody>
          </p:sp>
        </mc:Choice>
        <mc:Fallback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81A05424-B213-DC0E-7D7C-0C28DDA7031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42898" y="1285876"/>
                <a:ext cx="3938157" cy="2308324"/>
              </a:xfrm>
              <a:prstGeom prst="rect">
                <a:avLst/>
              </a:prstGeom>
              <a:blipFill>
                <a:blip r:embed="rId12"/>
                <a:stretch>
                  <a:fillRect t="-264" r="-619" b="-105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custDataLst>
      <p:tags r:id="rId1"/>
    </p:custDataLst>
    <p:extLst>
      <p:ext uri="{BB962C8B-B14F-4D97-AF65-F5344CB8AC3E}">
        <p14:creationId xmlns:p14="http://schemas.microsoft.com/office/powerpoint/2010/main" val="270255693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1" name="Rectangle 10">
            <a:extLst>
              <a:ext uri="{FF2B5EF4-FFF2-40B4-BE49-F238E27FC236}">
                <a16:creationId xmlns:a16="http://schemas.microsoft.com/office/drawing/2014/main" id="{0E30439A-8A5B-46EC-8283-9B6B031D40D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144000" cy="51435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CEAD642-85CF-4750-8432-7C80C901F0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-320"/>
            <a:ext cx="9144000" cy="5143499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15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A33EEAE-15D5-4119-8C1E-89D943F911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341640" y="-1290"/>
            <a:ext cx="8812530" cy="5130513"/>
          </a:xfrm>
          <a:prstGeom prst="rect">
            <a:avLst/>
          </a:prstGeom>
          <a:gradFill>
            <a:gsLst>
              <a:gs pos="21000">
                <a:schemeClr val="accent1">
                  <a:lumMod val="50000"/>
                  <a:alpha val="61000"/>
                </a:schemeClr>
              </a:gs>
              <a:gs pos="100000">
                <a:schemeClr val="accent1">
                  <a:alpha val="0"/>
                </a:schemeClr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30D8B3B-9B80-4025-B934-26DC7D7CD23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454540" y="-968"/>
            <a:ext cx="2706134" cy="5144147"/>
          </a:xfrm>
          <a:prstGeom prst="rect">
            <a:avLst/>
          </a:prstGeom>
          <a:gradFill>
            <a:gsLst>
              <a:gs pos="0">
                <a:schemeClr val="accent1">
                  <a:lumMod val="75000"/>
                  <a:alpha val="0"/>
                </a:schemeClr>
              </a:gs>
              <a:gs pos="99000">
                <a:srgbClr val="000000">
                  <a:alpha val="41000"/>
                </a:srgb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B5A1B09C-1565-46F8-B70F-621C5EB48A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5274173">
            <a:off x="4544796" y="584453"/>
            <a:ext cx="3725650" cy="3741293"/>
          </a:xfrm>
          <a:prstGeom prst="ellipse">
            <a:avLst/>
          </a:prstGeom>
          <a:gradFill>
            <a:gsLst>
              <a:gs pos="0">
                <a:schemeClr val="accent1">
                  <a:alpha val="24000"/>
                </a:schemeClr>
              </a:gs>
              <a:gs pos="79000">
                <a:schemeClr val="accent1">
                  <a:lumMod val="60000"/>
                  <a:lumOff val="40000"/>
                  <a:alpha val="0"/>
                </a:schemeClr>
              </a:gs>
            </a:gsLst>
            <a:lin ang="14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5EB6AE3-BD3E-FF03-AC80-8991E204EE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40148" y="614238"/>
            <a:ext cx="4947184" cy="2451390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r"/>
            <a:r>
              <a:rPr lang="en-US" sz="3600" kern="1200" dirty="0">
                <a:solidFill>
                  <a:srgbClr val="FFFFFF"/>
                </a:solidFill>
                <a:ea typeface="+mj-ea"/>
                <a:cs typeface="+mj-cs"/>
              </a:rPr>
              <a:t>M4ESTRO Project Overview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C516CC8-80AC-446C-A56E-9F54B72104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4735" y="3360028"/>
            <a:ext cx="9134528" cy="1783472"/>
          </a:xfrm>
          <a:prstGeom prst="rect">
            <a:avLst/>
          </a:prstGeom>
          <a:gradFill>
            <a:gsLst>
              <a:gs pos="0">
                <a:schemeClr val="accent1">
                  <a:lumMod val="75000"/>
                  <a:alpha val="50000"/>
                </a:schemeClr>
              </a:gs>
              <a:gs pos="99000">
                <a:srgbClr val="000000">
                  <a:alpha val="34000"/>
                </a:srgbClr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53947E58-F088-49F1-A3D1-DEA690192E8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 flipH="1">
            <a:off x="5225314" y="1224495"/>
            <a:ext cx="5143179" cy="2694194"/>
          </a:xfrm>
          <a:prstGeom prst="rect">
            <a:avLst/>
          </a:prstGeom>
          <a:gradFill>
            <a:gsLst>
              <a:gs pos="0">
                <a:schemeClr val="accent1">
                  <a:lumMod val="75000"/>
                  <a:alpha val="50000"/>
                </a:schemeClr>
              </a:gs>
              <a:gs pos="99000">
                <a:srgbClr val="000000">
                  <a:alpha val="0"/>
                </a:srgbClr>
              </a:gs>
            </a:gsLst>
            <a:lin ang="15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638796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D90038D-15FB-94D0-CACD-D9480D4A5C2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08FD64-B4DD-9FB0-E760-1B878D07C50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1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7772400" imgH="10058400" progId="TCLayout.ActiveDocument.1">
                  <p:embed/>
                </p:oleObj>
              </mc:Choice>
              <mc:Fallback>
                <p:oleObj name="think-cell Slide" r:id="rId8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08FD64-B4DD-9FB0-E760-1B878D07C5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92" y="1191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936D62E2-7270-F707-11ED-AAE4081A20C2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 vert="horz" lIns="0" tIns="34290" rIns="0" bIns="3429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noProof="1"/>
              <a:t>TFST Weighting Factor Implementation (2)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3B168ADB-010E-4C40-44CA-6BD38B25C776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342900" y="255537"/>
            <a:ext cx="8455819" cy="155515"/>
          </a:xfrm>
          <a:prstGeom prst="rect">
            <a:avLst/>
          </a:prstGeom>
        </p:spPr>
        <p:txBody>
          <a:bodyPr vert="horz" lIns="0" tIns="0" rIns="68580" bIns="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000" cap="all" noProof="1">
                <a:solidFill>
                  <a:schemeClr val="accent1"/>
                </a:solidFill>
                <a:latin typeface="Aptos" panose="020B0004020202020204" pitchFamily="34" charset="0"/>
              </a:rPr>
              <a:t>REALTIME INDICATORS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9" name="Google Shape;703;p114">
                <a:extLst>
                  <a:ext uri="{FF2B5EF4-FFF2-40B4-BE49-F238E27FC236}">
                    <a16:creationId xmlns:a16="http://schemas.microsoft.com/office/drawing/2014/main" id="{D73251DE-926F-A7F0-C51D-5E77DF6C3D2D}"/>
                  </a:ext>
                </a:extLst>
              </p:cNvPr>
              <p:cNvSpPr txBox="1"/>
              <p:nvPr>
                <p:custDataLst>
                  <p:tags r:id="rId5"/>
                </p:custDataLst>
              </p:nvPr>
            </p:nvSpPr>
            <p:spPr>
              <a:xfrm>
                <a:off x="342900" y="1658343"/>
                <a:ext cx="3886199" cy="149356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68580" tIns="68580" rIns="68580" bIns="0" anchor="t" anchorCtr="0">
                <a:noAutofit/>
              </a:bodyPr>
              <a:lstStyle>
                <a:defPPr>
                  <a:defRPr lang="en-US"/>
                </a:defPPr>
                <a:lvl1pPr marL="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9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8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7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6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5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4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3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2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lvl="0" defTabSz="914400"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</a:pPr>
                <a:r>
                  <a:rPr lang="en-US" altLang="en-US" sz="1200" b="1" dirty="0"/>
                  <a:t>Transit Time (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US" sz="1200" i="0">
                        <a:latin typeface="Cambria Math" panose="02040503050406030204" pitchFamily="18" charset="0"/>
                      </a:rPr>
                      <m:t>TT</m:t>
                    </m:r>
                  </m:oMath>
                </a14:m>
                <a:r>
                  <a:rPr lang="en-US" altLang="en-US" sz="1200" b="1" dirty="0"/>
                  <a:t>):</a:t>
                </a:r>
                <a:r>
                  <a:rPr lang="en-US" altLang="en-US" sz="1200" dirty="0"/>
                  <a:t> Weight decreases linearly as shipment progresses.</a:t>
                </a:r>
              </a:p>
              <a:p>
                <a:pPr lvl="0" defTabSz="914400"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Char char="•"/>
                </a:pPr>
                <a:endParaRPr lang="en-US" altLang="en-US" sz="1200" dirty="0"/>
              </a:p>
              <a:p>
                <a:pPr lvl="0" defTabSz="914400"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</a:pPr>
                <a:r>
                  <a:rPr lang="en-US" altLang="en-US" sz="1200" b="1" dirty="0"/>
                  <a:t>Path Time (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US" sz="1200" b="1" i="0" smtClean="0">
                        <a:latin typeface="Cambria Math" panose="02040503050406030204" pitchFamily="18" charset="0"/>
                      </a:rPr>
                      <m:t>P</m:t>
                    </m:r>
                    <m:r>
                      <m:rPr>
                        <m:sty m:val="p"/>
                      </m:rPr>
                      <a:rPr lang="en-US" sz="1200" i="0">
                        <a:latin typeface="Cambria Math" panose="02040503050406030204" pitchFamily="18" charset="0"/>
                      </a:rPr>
                      <m:t>T</m:t>
                    </m:r>
                  </m:oMath>
                </a14:m>
                <a:r>
                  <a:rPr lang="en-US" altLang="en-US" sz="1200" b="1" dirty="0"/>
                  <a:t>):</a:t>
                </a:r>
                <a:r>
                  <a:rPr lang="en-US" altLang="en-US" sz="1200" dirty="0"/>
                  <a:t> Weight increases linearly as shipment progresses.</a:t>
                </a:r>
              </a:p>
              <a:p>
                <a:pPr lvl="0" defTabSz="914400"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Char char="•"/>
                </a:pPr>
                <a:endParaRPr lang="en-US" altLang="en-US" sz="1200" b="1" dirty="0"/>
              </a:p>
              <a:p>
                <a:pPr lvl="0" defTabSz="914400"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</a:pPr>
                <a:r>
                  <a:rPr lang="en-US" altLang="en-US" sz="1200" b="1" dirty="0"/>
                  <a:t>Delayed Shipments:</a:t>
                </a:r>
                <a:r>
                  <a:rPr lang="en-US" altLang="en-US" sz="1200" dirty="0"/>
                  <a:t> Full weight assigned to PT.</a:t>
                </a:r>
              </a:p>
              <a:p>
                <a:pPr marL="171450" indent="-171450">
                  <a:spcAft>
                    <a:spcPts val="600"/>
                  </a:spcAft>
                  <a:buClrTx/>
                  <a:buFont typeface="Arial" panose="020B0604020202020204" pitchFamily="34" charset="0"/>
                  <a:buChar char="•"/>
                </a:pPr>
                <a:endParaRPr lang="en-US" sz="1200" noProof="1"/>
              </a:p>
            </p:txBody>
          </p:sp>
        </mc:Choice>
        <mc:Fallback>
          <p:sp>
            <p:nvSpPr>
              <p:cNvPr id="19" name="Google Shape;703;p114">
                <a:extLst>
                  <a:ext uri="{FF2B5EF4-FFF2-40B4-BE49-F238E27FC236}">
                    <a16:creationId xmlns:a16="http://schemas.microsoft.com/office/drawing/2014/main" id="{D73251DE-926F-A7F0-C51D-5E77DF6C3D2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>
                <p:custDataLst>
                  <p:tags r:id="rId5"/>
                </p:custDataLst>
              </p:nvPr>
            </p:nvSpPr>
            <p:spPr>
              <a:xfrm>
                <a:off x="342900" y="1658343"/>
                <a:ext cx="3886199" cy="1493568"/>
              </a:xfrm>
              <a:prstGeom prst="rect">
                <a:avLst/>
              </a:prstGeom>
              <a:blipFill>
                <a:blip r:embed="rId10"/>
                <a:stretch>
                  <a:fillRect l="-627"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Google Shape;10527;p9415">
            <a:extLst>
              <a:ext uri="{FF2B5EF4-FFF2-40B4-BE49-F238E27FC236}">
                <a16:creationId xmlns:a16="http://schemas.microsoft.com/office/drawing/2014/main" id="{16004C87-5E60-58C7-58BF-6FC7CB53FF02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342898" y="997840"/>
            <a:ext cx="3886201" cy="28803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68580" tIns="34290" rIns="68580" bIns="34290" anchor="ctr" anchorCtr="0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ts val="1100"/>
            </a:pPr>
            <a:r>
              <a:rPr lang="en-US" sz="1400" noProof="1">
                <a:solidFill>
                  <a:schemeClr val="bg1"/>
                </a:solidFill>
                <a:latin typeface="+mj-lt"/>
              </a:rPr>
              <a:t>Linear Implementation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FF3FC5B-9E8A-7DEA-E7FE-9FB41573C50C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449159" y="829854"/>
            <a:ext cx="4349560" cy="3248406"/>
          </a:xfrm>
          <a:prstGeom prst="rect">
            <a:avLst/>
          </a:prstGeom>
        </p:spPr>
      </p:pic>
      <mc:AlternateContent xmlns:mc="http://schemas.openxmlformats.org/markup-compatibility/2006">
        <mc:Choice xmlns:a14="http://schemas.microsoft.com/office/drawing/2010/main" Requires="a14"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E5DBF48E-1076-47AE-C9F2-2D5B31C5E7FC}"/>
                  </a:ext>
                </a:extLst>
              </p:cNvPr>
              <p:cNvSpPr txBox="1"/>
              <p:nvPr/>
            </p:nvSpPr>
            <p:spPr>
              <a:xfrm>
                <a:off x="956557" y="3576519"/>
                <a:ext cx="2658881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i="1" noProof="1">
                          <a:latin typeface="Cambria Math" panose="02040503050406030204" pitchFamily="18" charset="0"/>
                        </a:rPr>
                        <m:t>𝛼</m:t>
                      </m:r>
                      <m:r>
                        <a:rPr lang="en-US" i="1" noProof="1">
                          <a:latin typeface="Cambria Math" panose="02040503050406030204" pitchFamily="18" charset="0"/>
                        </a:rPr>
                        <m:t>=</m:t>
                      </m:r>
                      <m:func>
                        <m:funcPr>
                          <m:ctrlPr>
                            <a:rPr lang="en-US" i="1" noProof="1">
                              <a:latin typeface="Cambria Math" panose="02040503050406030204" pitchFamily="18" charset="0"/>
                            </a:rPr>
                          </m:ctrlPr>
                        </m:funcPr>
                        <m:fName>
                          <m:r>
                            <a:rPr lang="en-US" i="1" noProof="1">
                              <a:latin typeface="Cambria Math" panose="02040503050406030204" pitchFamily="18" charset="0"/>
                            </a:rPr>
                            <m:t>𝑚𝑎𝑥</m:t>
                          </m:r>
                        </m:fName>
                        <m:e>
                          <m:r>
                            <a:rPr lang="en-US" i="1" noProof="1">
                              <a:latin typeface="Cambria Math" panose="02040503050406030204" pitchFamily="18" charset="0"/>
                            </a:rPr>
                            <m:t>(1 − </m:t>
                          </m:r>
                          <m:r>
                            <a:rPr lang="en-US" i="1" noProof="1">
                              <a:latin typeface="Cambria Math" panose="02040503050406030204" pitchFamily="18" charset="0"/>
                            </a:rPr>
                            <m:t>𝜏</m:t>
                          </m:r>
                          <m:r>
                            <a:rPr lang="en-US" i="1" noProof="1">
                              <a:latin typeface="Cambria Math" panose="02040503050406030204" pitchFamily="18" charset="0"/>
                            </a:rPr>
                            <m:t>,0)</m:t>
                          </m:r>
                        </m:e>
                      </m:func>
                    </m:oMath>
                  </m:oMathPara>
                </a14:m>
                <a:endParaRPr lang="en-US" dirty="0"/>
              </a:p>
            </p:txBody>
          </p:sp>
        </mc:Choice>
        <mc:Fallback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E5DBF48E-1076-47AE-C9F2-2D5B31C5E7F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56557" y="3576519"/>
                <a:ext cx="2658881" cy="307777"/>
              </a:xfrm>
              <a:prstGeom prst="rect">
                <a:avLst/>
              </a:prstGeom>
              <a:blipFill>
                <a:blip r:embed="rId12"/>
                <a:stretch>
                  <a:fillRect b="-1000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custDataLst>
      <p:tags r:id="rId1"/>
    </p:custDataLst>
    <p:extLst>
      <p:ext uri="{BB962C8B-B14F-4D97-AF65-F5344CB8AC3E}">
        <p14:creationId xmlns:p14="http://schemas.microsoft.com/office/powerpoint/2010/main" val="121888351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A021A27-C896-7B13-1EDC-31A4E25F3EF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7CFCF140-7A36-4318-E0F8-8FF1BD23A27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1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7772400" imgH="10058400" progId="TCLayout.ActiveDocument.1">
                  <p:embed/>
                </p:oleObj>
              </mc:Choice>
              <mc:Fallback>
                <p:oleObj name="think-cell Slide" r:id="rId8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CFCF140-7A36-4318-E0F8-8FF1BD23A2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92" y="1191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1975E955-B754-234C-5F98-D635B2BC24A9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 vert="horz" lIns="0" tIns="34290" rIns="0" bIns="3429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noProof="1"/>
              <a:t>TFST Weighting Factor Implementation (3)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CE289081-6795-C14E-3906-8366AAA2C9B3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342900" y="255537"/>
            <a:ext cx="8455819" cy="155515"/>
          </a:xfrm>
          <a:prstGeom prst="rect">
            <a:avLst/>
          </a:prstGeom>
        </p:spPr>
        <p:txBody>
          <a:bodyPr vert="horz" lIns="0" tIns="0" rIns="68580" bIns="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000" cap="all" noProof="1">
                <a:solidFill>
                  <a:schemeClr val="accent1"/>
                </a:solidFill>
                <a:latin typeface="Aptos" panose="020B0004020202020204" pitchFamily="34" charset="0"/>
              </a:rPr>
              <a:t>REALTIME INDICATORS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9" name="Google Shape;703;p114">
                <a:extLst>
                  <a:ext uri="{FF2B5EF4-FFF2-40B4-BE49-F238E27FC236}">
                    <a16:creationId xmlns:a16="http://schemas.microsoft.com/office/drawing/2014/main" id="{77A1586B-B85D-FAD9-25C6-26A71A714163}"/>
                  </a:ext>
                </a:extLst>
              </p:cNvPr>
              <p:cNvSpPr txBox="1"/>
              <p:nvPr>
                <p:custDataLst>
                  <p:tags r:id="rId5"/>
                </p:custDataLst>
              </p:nvPr>
            </p:nvSpPr>
            <p:spPr>
              <a:xfrm>
                <a:off x="342900" y="1501904"/>
                <a:ext cx="3886199" cy="168803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68580" tIns="68580" rIns="68580" bIns="0" anchor="t" anchorCtr="0">
                <a:noAutofit/>
              </a:bodyPr>
              <a:lstStyle>
                <a:defPPr>
                  <a:defRPr lang="en-US"/>
                </a:defPPr>
                <a:lvl1pPr marL="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9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8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7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6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5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4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3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2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spcAft>
                    <a:spcPts val="600"/>
                  </a:spcAft>
                  <a:buClrTx/>
                </a:pPr>
                <a:r>
                  <a:rPr lang="en-US" sz="1200" noProof="1"/>
                  <a:t>The parameter </a:t>
                </a:r>
                <a14:m>
                  <m:oMath xmlns:m="http://schemas.openxmlformats.org/officeDocument/2006/math">
                    <m:r>
                      <a:rPr lang="en-US" sz="1200" b="0" i="1" noProof="1" smtClean="0">
                        <a:latin typeface="Cambria Math" panose="02040503050406030204" pitchFamily="18" charset="0"/>
                      </a:rPr>
                      <m:t>〈</m:t>
                    </m:r>
                    <m:r>
                      <m:rPr>
                        <m:sty m:val="p"/>
                      </m:rPr>
                      <a:rPr lang="en-US" sz="1200" b="0" i="1" noProof="1" smtClean="0">
                        <a:latin typeface="Cambria Math" panose="02040503050406030204" pitchFamily="18" charset="0"/>
                      </a:rPr>
                      <m:t>TT</m:t>
                    </m:r>
                    <m:r>
                      <a:rPr lang="en-US" sz="1200" b="0" i="1" noProof="1" smtClean="0">
                        <a:latin typeface="Cambria Math" panose="02040503050406030204" pitchFamily="18" charset="0"/>
                      </a:rPr>
                      <m:t>〉</m:t>
                    </m:r>
                  </m:oMath>
                </a14:m>
                <a:r>
                  <a:rPr lang="en-US" sz="1200" noProof="1"/>
                  <a:t> expresses the </a:t>
                </a:r>
                <a:r>
                  <a:rPr lang="en-US" sz="1200" b="1" noProof="1"/>
                  <a:t>total</a:t>
                </a:r>
                <a:r>
                  <a:rPr lang="en-US" sz="1200" noProof="1"/>
                  <a:t> </a:t>
                </a:r>
                <a:r>
                  <a:rPr lang="en-US" sz="1200" b="1" noProof="1"/>
                  <a:t>weight</a:t>
                </a:r>
                <a:r>
                  <a:rPr lang="en-US" sz="1200" noProof="1"/>
                  <a:t> assigned to the </a:t>
                </a:r>
                <a:r>
                  <a:rPr lang="en-US" sz="1200" b="1" noProof="1"/>
                  <a:t>Transit</a:t>
                </a:r>
                <a:r>
                  <a:rPr lang="en-US" sz="1200" noProof="1"/>
                  <a:t> </a:t>
                </a:r>
                <a:r>
                  <a:rPr lang="en-US" sz="1200" b="1" noProof="1"/>
                  <a:t>Time</a:t>
                </a:r>
                <a:r>
                  <a:rPr lang="en-US" sz="1200" noProof="1"/>
                  <a:t>.</a:t>
                </a:r>
              </a:p>
              <a:p>
                <a:pPr>
                  <a:spcAft>
                    <a:spcPts val="600"/>
                  </a:spcAft>
                  <a:buClrTx/>
                </a:pPr>
                <a:r>
                  <a:rPr lang="en-US" sz="1200" dirty="0"/>
                  <a:t>Enables a more </a:t>
                </a:r>
                <a:r>
                  <a:rPr lang="en-US" sz="1200" b="1" dirty="0"/>
                  <a:t>flexible approach</a:t>
                </a:r>
                <a:r>
                  <a:rPr lang="en-US" sz="1200" dirty="0"/>
                  <a:t> and supports more complex forms.</a:t>
                </a:r>
              </a:p>
              <a:p>
                <a:pPr>
                  <a:spcAft>
                    <a:spcPts val="600"/>
                  </a:spcAft>
                  <a:buClrTx/>
                </a:pPr>
                <a:endParaRPr lang="en-US" sz="1200" noProof="1"/>
              </a:p>
              <a:p>
                <a:pPr>
                  <a:spcAft>
                    <a:spcPts val="600"/>
                  </a:spcAft>
                  <a:buClrTx/>
                </a:pPr>
                <a:r>
                  <a:rPr lang="en-US" sz="1200" b="1" noProof="1"/>
                  <a:t>Recovers</a:t>
                </a:r>
                <a:r>
                  <a:rPr lang="en-US" sz="1200" noProof="1"/>
                  <a:t> the </a:t>
                </a:r>
                <a:r>
                  <a:rPr lang="en-US" sz="1200" b="1" noProof="1"/>
                  <a:t>linear</a:t>
                </a:r>
                <a:r>
                  <a:rPr lang="en-US" sz="1200" noProof="1"/>
                  <a:t> formulation for </a:t>
                </a:r>
                <a14:m>
                  <m:oMath xmlns:m="http://schemas.openxmlformats.org/officeDocument/2006/math">
                    <m:r>
                      <a:rPr lang="en-US" sz="1200" i="1" noProof="1">
                        <a:latin typeface="Cambria Math" panose="02040503050406030204" pitchFamily="18" charset="0"/>
                      </a:rPr>
                      <m:t>〈</m:t>
                    </m:r>
                    <m:r>
                      <m:rPr>
                        <m:sty m:val="p"/>
                      </m:rPr>
                      <a:rPr lang="en-US" sz="1200" i="1" noProof="1">
                        <a:latin typeface="Cambria Math" panose="02040503050406030204" pitchFamily="18" charset="0"/>
                      </a:rPr>
                      <m:t>TT</m:t>
                    </m:r>
                    <m:r>
                      <a:rPr lang="en-US" sz="1200" i="1" noProof="1">
                        <a:latin typeface="Cambria Math" panose="02040503050406030204" pitchFamily="18" charset="0"/>
                      </a:rPr>
                      <m:t>〉=0.5</m:t>
                    </m:r>
                  </m:oMath>
                </a14:m>
                <a:endParaRPr lang="en-US" sz="1200" noProof="1"/>
              </a:p>
              <a:p>
                <a:pPr>
                  <a:spcAft>
                    <a:spcPts val="600"/>
                  </a:spcAft>
                  <a:buClrTx/>
                </a:pPr>
                <a:endParaRPr lang="en-US" sz="1200" noProof="1"/>
              </a:p>
            </p:txBody>
          </p:sp>
        </mc:Choice>
        <mc:Fallback>
          <p:sp>
            <p:nvSpPr>
              <p:cNvPr id="19" name="Google Shape;703;p114">
                <a:extLst>
                  <a:ext uri="{FF2B5EF4-FFF2-40B4-BE49-F238E27FC236}">
                    <a16:creationId xmlns:a16="http://schemas.microsoft.com/office/drawing/2014/main" id="{77A1586B-B85D-FAD9-25C6-26A71A71416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>
                <p:custDataLst>
                  <p:tags r:id="rId5"/>
                </p:custDataLst>
              </p:nvPr>
            </p:nvSpPr>
            <p:spPr>
              <a:xfrm>
                <a:off x="342900" y="1501904"/>
                <a:ext cx="3886199" cy="1688030"/>
              </a:xfrm>
              <a:prstGeom prst="rect">
                <a:avLst/>
              </a:prstGeom>
              <a:blipFill>
                <a:blip r:embed="rId10"/>
                <a:stretch>
                  <a:fillRect l="-627" r="-157"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Google Shape;10527;p9415">
            <a:extLst>
              <a:ext uri="{FF2B5EF4-FFF2-40B4-BE49-F238E27FC236}">
                <a16:creationId xmlns:a16="http://schemas.microsoft.com/office/drawing/2014/main" id="{D0669F6F-C851-B00A-9F84-AFFA130CA22D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342898" y="997840"/>
            <a:ext cx="3886201" cy="28803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68580" tIns="34290" rIns="68580" bIns="34290" anchor="ctr" anchorCtr="0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ts val="1100"/>
            </a:pPr>
            <a:r>
              <a:rPr lang="en-US" sz="1400" noProof="1">
                <a:solidFill>
                  <a:schemeClr val="bg1"/>
                </a:solidFill>
                <a:latin typeface="+mj-lt"/>
              </a:rPr>
              <a:t>Polynomial Implementation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AA6F78F-CBFF-4F75-1291-29C45C982BC3}"/>
              </a:ext>
            </a:extLst>
          </p:cNvPr>
          <p:cNvPicPr>
            <a:picLocks noChangeAspect="1"/>
          </p:cNvPicPr>
          <p:nvPr/>
        </p:nvPicPr>
        <p:blipFill>
          <a:blip r:embed="rId11"/>
          <a:srcRect/>
          <a:stretch/>
        </p:blipFill>
        <p:spPr>
          <a:xfrm>
            <a:off x="5136575" y="411052"/>
            <a:ext cx="3571788" cy="268049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ACC18557-3922-5C60-33C8-96AFBDAB4624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42898" y="3189934"/>
            <a:ext cx="4010948" cy="1489514"/>
          </a:xfrm>
          <a:prstGeom prst="rect">
            <a:avLst/>
          </a:prstGeom>
        </p:spPr>
      </p:pic>
      <mc:AlternateContent xmlns:mc="http://schemas.openxmlformats.org/markup-compatibility/2006">
        <mc:Choice xmlns:a14="http://schemas.microsoft.com/office/drawing/2010/main" Requires="a14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523FE126-9665-0440-84B4-EB8B58C8A08A}"/>
                  </a:ext>
                </a:extLst>
              </p:cNvPr>
              <p:cNvSpPr txBox="1"/>
              <p:nvPr/>
            </p:nvSpPr>
            <p:spPr>
              <a:xfrm>
                <a:off x="4791028" y="2945405"/>
                <a:ext cx="3702894" cy="60330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spcAft>
                    <a:spcPts val="600"/>
                  </a:spcAft>
                  <a:buClrTx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i="1" noProof="1">
                          <a:latin typeface="Cambria Math" panose="02040503050406030204" pitchFamily="18" charset="0"/>
                        </a:rPr>
                        <m:t>𝛼</m:t>
                      </m:r>
                      <m:d>
                        <m:dPr>
                          <m:ctrlPr>
                            <a:rPr lang="en-US" i="1" noProof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i="1" noProof="1">
                              <a:latin typeface="Cambria Math" panose="02040503050406030204" pitchFamily="18" charset="0"/>
                            </a:rPr>
                            <m:t>𝜏</m:t>
                          </m:r>
                          <m:r>
                            <a:rPr lang="en-US" i="1" noProof="1">
                              <a:latin typeface="Cambria Math" panose="02040503050406030204" pitchFamily="18" charset="0"/>
                            </a:rPr>
                            <m:t>;</m:t>
                          </m:r>
                          <m:d>
                            <m:dPr>
                              <m:begChr m:val="⟨"/>
                              <m:endChr m:val="⟩"/>
                              <m:ctrlPr>
                                <a:rPr lang="en-US" i="1" noProof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i="1" noProof="1">
                                  <a:latin typeface="Cambria Math" panose="02040503050406030204" pitchFamily="18" charset="0"/>
                                </a:rPr>
                                <m:t>𝑇𝑇</m:t>
                              </m:r>
                            </m:e>
                          </m:d>
                        </m:e>
                      </m:d>
                      <m:r>
                        <a:rPr lang="en-US" i="1" noProof="1">
                          <a:latin typeface="Cambria Math" panose="02040503050406030204" pitchFamily="18" charset="0"/>
                        </a:rPr>
                        <m:t>=</m:t>
                      </m:r>
                      <m:sSup>
                        <m:sSupPr>
                          <m:ctrlPr>
                            <a:rPr lang="en-US" i="1" noProof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d>
                            <m:dPr>
                              <m:ctrlPr>
                                <a:rPr lang="en-US" i="1" noProof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i="1" noProof="1">
                                  <a:latin typeface="Cambria Math" panose="02040503050406030204" pitchFamily="18" charset="0"/>
                                </a:rPr>
                                <m:t>1−</m:t>
                              </m:r>
                              <m:r>
                                <a:rPr lang="en-US" i="1" noProof="1">
                                  <a:latin typeface="Cambria Math" panose="02040503050406030204" pitchFamily="18" charset="0"/>
                                </a:rPr>
                                <m:t>𝜏</m:t>
                              </m:r>
                            </m:e>
                          </m:d>
                        </m:e>
                        <m:sup>
                          <m:r>
                            <a:rPr lang="en-US" i="1" noProof="1">
                              <a:latin typeface="Cambria Math" panose="02040503050406030204" pitchFamily="18" charset="0"/>
                            </a:rPr>
                            <m:t>𝑞</m:t>
                          </m:r>
                        </m:sup>
                      </m:sSup>
                      <m:r>
                        <a:rPr lang="en-US" i="1" noProof="1">
                          <a:latin typeface="Cambria Math" panose="02040503050406030204" pitchFamily="18" charset="0"/>
                        </a:rPr>
                        <m:t>, </m:t>
                      </m:r>
                      <m:r>
                        <a:rPr lang="en-US" i="1" noProof="1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i="1" noProof="1">
                          <a:latin typeface="Cambria Math" panose="02040503050406030204" pitchFamily="18" charset="0"/>
                        </a:rPr>
                        <m:t>𝑞</m:t>
                      </m:r>
                      <m:r>
                        <a:rPr lang="en-US" i="1" noProof="1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i="1" noProof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 noProof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d>
                            <m:dPr>
                              <m:begChr m:val="⟨"/>
                              <m:endChr m:val="⟩"/>
                              <m:ctrlPr>
                                <a:rPr lang="en-US" i="1" noProof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i="1" noProof="1">
                                  <a:latin typeface="Cambria Math" panose="02040503050406030204" pitchFamily="18" charset="0"/>
                                </a:rPr>
                                <m:t>𝑇𝑇</m:t>
                              </m:r>
                            </m:e>
                          </m:d>
                        </m:den>
                      </m:f>
                      <m:r>
                        <a:rPr lang="en-US" i="1" noProof="1">
                          <a:latin typeface="Cambria Math" panose="02040503050406030204" pitchFamily="18" charset="0"/>
                        </a:rPr>
                        <m:t>−1</m:t>
                      </m:r>
                    </m:oMath>
                  </m:oMathPara>
                </a14:m>
                <a:endParaRPr lang="en-US" noProof="1"/>
              </a:p>
            </p:txBody>
          </p:sp>
        </mc:Choice>
        <mc:Fallback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523FE126-9665-0440-84B4-EB8B58C8A08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791028" y="2945405"/>
                <a:ext cx="3702894" cy="603307"/>
              </a:xfrm>
              <a:prstGeom prst="rect">
                <a:avLst/>
              </a:prstGeom>
              <a:blipFill>
                <a:blip r:embed="rId1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C905436E-A8BB-E67B-6613-0E780CB49250}"/>
                  </a:ext>
                </a:extLst>
              </p:cNvPr>
              <p:cNvSpPr txBox="1"/>
              <p:nvPr/>
            </p:nvSpPr>
            <p:spPr>
              <a:xfrm>
                <a:off x="5024957" y="3912373"/>
                <a:ext cx="3235036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200" noProof="1">
                    <a:latin typeface="+mn-lt"/>
                  </a:rPr>
                  <a:t>Tune</a:t>
                </a:r>
                <a:r>
                  <a:rPr lang="en-US" sz="1200" noProof="1"/>
                  <a:t> </a:t>
                </a:r>
                <a14:m>
                  <m:oMath xmlns:m="http://schemas.openxmlformats.org/officeDocument/2006/math">
                    <m:r>
                      <a:rPr lang="en-US" sz="1200" i="1" noProof="1">
                        <a:latin typeface="Cambria Math" panose="02040503050406030204" pitchFamily="18" charset="0"/>
                      </a:rPr>
                      <m:t>〈</m:t>
                    </m:r>
                    <m:r>
                      <m:rPr>
                        <m:sty m:val="p"/>
                      </m:rPr>
                      <a:rPr lang="en-US" sz="1200" i="1" noProof="1">
                        <a:latin typeface="Cambria Math" panose="02040503050406030204" pitchFamily="18" charset="0"/>
                      </a:rPr>
                      <m:t>TT</m:t>
                    </m:r>
                    <m:r>
                      <a:rPr lang="en-US" sz="1200" i="1" noProof="1">
                        <a:latin typeface="Cambria Math" panose="02040503050406030204" pitchFamily="18" charset="0"/>
                      </a:rPr>
                      <m:t>〉</m:t>
                    </m:r>
                  </m:oMath>
                </a14:m>
                <a:r>
                  <a:rPr lang="en-US" sz="1200" noProof="1"/>
                  <a:t> </a:t>
                </a:r>
                <a:r>
                  <a:rPr lang="en-US" sz="1200" noProof="1">
                    <a:latin typeface="+mn-lt"/>
                  </a:rPr>
                  <a:t>to </a:t>
                </a:r>
                <a:r>
                  <a:rPr lang="en-US" sz="1200" b="1" noProof="1">
                    <a:latin typeface="+mn-lt"/>
                  </a:rPr>
                  <a:t>minimize</a:t>
                </a:r>
                <a:r>
                  <a:rPr lang="en-US" sz="1200" noProof="1">
                    <a:latin typeface="+mn-lt"/>
                  </a:rPr>
                  <a:t> the total </a:t>
                </a:r>
                <a:r>
                  <a:rPr lang="en-US" sz="1200" b="1" noProof="1">
                    <a:latin typeface="+mn-lt"/>
                  </a:rPr>
                  <a:t>estimation</a:t>
                </a:r>
                <a:r>
                  <a:rPr lang="en-US" sz="1200" noProof="1">
                    <a:latin typeface="+mn-lt"/>
                  </a:rPr>
                  <a:t> </a:t>
                </a:r>
                <a:r>
                  <a:rPr lang="en-US" sz="1200" b="1" noProof="1">
                    <a:latin typeface="+mn-lt"/>
                  </a:rPr>
                  <a:t>error</a:t>
                </a:r>
                <a:r>
                  <a:rPr lang="en-US" sz="1200" noProof="1">
                    <a:latin typeface="+mn-lt"/>
                  </a:rPr>
                  <a:t> of </a:t>
                </a:r>
                <a:r>
                  <a:rPr lang="en-US" sz="1200" b="1" noProof="1">
                    <a:latin typeface="+mn-lt"/>
                  </a:rPr>
                  <a:t>TFST</a:t>
                </a:r>
                <a:r>
                  <a:rPr lang="en-US" sz="1200" noProof="1">
                    <a:latin typeface="+mn-lt"/>
                  </a:rPr>
                  <a:t> relative to the observed shipment times. </a:t>
                </a:r>
              </a:p>
            </p:txBody>
          </p:sp>
        </mc:Choice>
        <mc:Fallback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C905436E-A8BB-E67B-6613-0E780CB4925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957" y="3912373"/>
                <a:ext cx="3235036" cy="461665"/>
              </a:xfrm>
              <a:prstGeom prst="rect">
                <a:avLst/>
              </a:prstGeom>
              <a:blipFill>
                <a:blip r:embed="rId14"/>
                <a:stretch>
                  <a:fillRect t="-1316" r="-942" b="-921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custDataLst>
      <p:tags r:id="rId1"/>
    </p:custDataLst>
    <p:extLst>
      <p:ext uri="{BB962C8B-B14F-4D97-AF65-F5344CB8AC3E}">
        <p14:creationId xmlns:p14="http://schemas.microsoft.com/office/powerpoint/2010/main" val="235424328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668D878E-617F-E340-7F6D-1326BE5CBC3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1" name="Rectangle 10">
            <a:extLst>
              <a:ext uri="{FF2B5EF4-FFF2-40B4-BE49-F238E27FC236}">
                <a16:creationId xmlns:a16="http://schemas.microsoft.com/office/drawing/2014/main" id="{0EA67B87-7F92-DB6F-12F2-65CFBE7AA07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144000" cy="51435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2B9BE9D-5053-FCC9-DE56-8E2B75DEDD1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-320"/>
            <a:ext cx="9144000" cy="5143499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15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C77D4BB-4AD5-D57E-4B2C-FDDA3C0CD6B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341640" y="-1290"/>
            <a:ext cx="8812530" cy="5130513"/>
          </a:xfrm>
          <a:prstGeom prst="rect">
            <a:avLst/>
          </a:prstGeom>
          <a:gradFill>
            <a:gsLst>
              <a:gs pos="21000">
                <a:schemeClr val="accent1">
                  <a:lumMod val="50000"/>
                  <a:alpha val="61000"/>
                </a:schemeClr>
              </a:gs>
              <a:gs pos="100000">
                <a:schemeClr val="accent1">
                  <a:alpha val="0"/>
                </a:schemeClr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EA2E52D5-690D-8A0C-0BD1-EEB1164C2F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454540" y="-968"/>
            <a:ext cx="2706134" cy="5144147"/>
          </a:xfrm>
          <a:prstGeom prst="rect">
            <a:avLst/>
          </a:prstGeom>
          <a:gradFill>
            <a:gsLst>
              <a:gs pos="0">
                <a:schemeClr val="accent1">
                  <a:lumMod val="75000"/>
                  <a:alpha val="0"/>
                </a:schemeClr>
              </a:gs>
              <a:gs pos="99000">
                <a:srgbClr val="000000">
                  <a:alpha val="41000"/>
                </a:srgb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AEB9A8F4-43EB-5B1B-9539-49E8E1C17D0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5274173">
            <a:off x="4544796" y="584453"/>
            <a:ext cx="3725650" cy="3741293"/>
          </a:xfrm>
          <a:prstGeom prst="ellipse">
            <a:avLst/>
          </a:prstGeom>
          <a:gradFill>
            <a:gsLst>
              <a:gs pos="0">
                <a:schemeClr val="accent1">
                  <a:alpha val="24000"/>
                </a:schemeClr>
              </a:gs>
              <a:gs pos="79000">
                <a:schemeClr val="accent1">
                  <a:lumMod val="60000"/>
                  <a:lumOff val="40000"/>
                  <a:alpha val="0"/>
                </a:schemeClr>
              </a:gs>
            </a:gsLst>
            <a:lin ang="14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693FEB8-9CF1-6DE6-C4CE-329DAEEF87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02664" y="614238"/>
            <a:ext cx="3984667" cy="2451390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r"/>
            <a:r>
              <a:rPr lang="en-US" sz="3600" dirty="0" err="1">
                <a:solidFill>
                  <a:srgbClr val="FFFFFF"/>
                </a:solidFill>
              </a:rPr>
              <a:t>Protoype</a:t>
            </a:r>
            <a:r>
              <a:rPr lang="en-US" sz="3600" dirty="0">
                <a:solidFill>
                  <a:srgbClr val="FFFFFF"/>
                </a:solidFill>
              </a:rPr>
              <a:t> &amp; Results</a:t>
            </a:r>
            <a:endParaRPr lang="en-US" sz="3600" kern="1200" dirty="0">
              <a:solidFill>
                <a:srgbClr val="FFFFFF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C5B7B18-03F8-AC29-9538-2F2E1B403A5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4735" y="3360028"/>
            <a:ext cx="9134528" cy="1783472"/>
          </a:xfrm>
          <a:prstGeom prst="rect">
            <a:avLst/>
          </a:prstGeom>
          <a:gradFill>
            <a:gsLst>
              <a:gs pos="0">
                <a:schemeClr val="accent1">
                  <a:lumMod val="75000"/>
                  <a:alpha val="50000"/>
                </a:schemeClr>
              </a:gs>
              <a:gs pos="99000">
                <a:srgbClr val="000000">
                  <a:alpha val="34000"/>
                </a:srgbClr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0D0ED136-86B0-D126-8F48-26E517BF1C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 flipH="1">
            <a:off x="5225314" y="1224495"/>
            <a:ext cx="5143179" cy="2694194"/>
          </a:xfrm>
          <a:prstGeom prst="rect">
            <a:avLst/>
          </a:prstGeom>
          <a:gradFill>
            <a:gsLst>
              <a:gs pos="0">
                <a:schemeClr val="accent1">
                  <a:lumMod val="75000"/>
                  <a:alpha val="50000"/>
                </a:schemeClr>
              </a:gs>
              <a:gs pos="99000">
                <a:srgbClr val="000000">
                  <a:alpha val="0"/>
                </a:srgbClr>
              </a:gs>
            </a:gsLst>
            <a:lin ang="15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9621947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5B50A5E-44A5-FA4C-743B-8C889D9305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180BE26-91E4-FB4A-C304-CF8C74A3C72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1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7772400" imgH="10058400" progId="TCLayout.ActiveDocument.1">
                  <p:embed/>
                </p:oleObj>
              </mc:Choice>
              <mc:Fallback>
                <p:oleObj name="think-cell Slide" r:id="rId10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180BE26-91E4-FB4A-C304-CF8C74A3C7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2" y="1191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44D8A881-CCB8-8107-FA67-496278B37739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 vert="horz" lIns="0" tIns="34290" rIns="0" bIns="3429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noProof="1"/>
              <a:t>Prototype Architecture</a:t>
            </a: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967DA829-9461-4352-F73F-E4A2A18B170A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342900" y="255537"/>
            <a:ext cx="8455819" cy="155515"/>
          </a:xfrm>
          <a:prstGeom prst="rect">
            <a:avLst/>
          </a:prstGeom>
        </p:spPr>
        <p:txBody>
          <a:bodyPr vert="horz" lIns="0" tIns="0" rIns="68580" bIns="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825" cap="all" noProof="1">
                <a:solidFill>
                  <a:schemeClr val="accent1"/>
                </a:solidFill>
                <a:latin typeface="Aptos" panose="020B0004020202020204" pitchFamily="34" charset="0"/>
              </a:rPr>
              <a:t>Prototype &amp; RESULTS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D18EF981-F4A0-434F-A30A-297F83D6F7D9}"/>
              </a:ext>
            </a:extLst>
          </p:cNvPr>
          <p:cNvPicPr>
            <a:picLocks noChangeAspect="1"/>
          </p:cNvPicPr>
          <p:nvPr/>
        </p:nvPicPr>
        <p:blipFill>
          <a:blip r:embed="rId12"/>
          <a:srcRect l="21" r="21"/>
          <a:stretch/>
        </p:blipFill>
        <p:spPr>
          <a:xfrm>
            <a:off x="3712100" y="411052"/>
            <a:ext cx="5244891" cy="4391062"/>
          </a:xfrm>
          <a:prstGeom prst="rect">
            <a:avLst/>
          </a:prstGeom>
        </p:spPr>
      </p:pic>
      <p:sp>
        <p:nvSpPr>
          <p:cNvPr id="21" name="Google Shape;10527;p9415">
            <a:extLst>
              <a:ext uri="{FF2B5EF4-FFF2-40B4-BE49-F238E27FC236}">
                <a16:creationId xmlns:a16="http://schemas.microsoft.com/office/drawing/2014/main" id="{CCD174DB-393D-0CAB-D2D9-5FA39F17DDEA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42900" y="900063"/>
            <a:ext cx="3133032" cy="30028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68580" tIns="34290" rIns="68580" bIns="34290" anchor="ctr" anchorCtr="0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ts val="1100"/>
            </a:pPr>
            <a:r>
              <a:rPr lang="en-US" sz="1400" noProof="1">
                <a:solidFill>
                  <a:schemeClr val="bg1"/>
                </a:solidFill>
                <a:latin typeface="+mj-lt"/>
              </a:rPr>
              <a:t>Implementation &amp; Deployment</a:t>
            </a:r>
          </a:p>
        </p:txBody>
      </p:sp>
      <p:sp>
        <p:nvSpPr>
          <p:cNvPr id="23" name="Google Shape;703;p114">
            <a:extLst>
              <a:ext uri="{FF2B5EF4-FFF2-40B4-BE49-F238E27FC236}">
                <a16:creationId xmlns:a16="http://schemas.microsoft.com/office/drawing/2014/main" id="{A3A15FBD-3B5F-85FA-B84E-8076BB59BA18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342899" y="1200344"/>
            <a:ext cx="3133032" cy="16358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68580" rIns="68580" bIns="34290" anchor="t" anchorCtr="0"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0000"/>
              </a:lnSpc>
              <a:spcAft>
                <a:spcPts val="150"/>
              </a:spcAft>
            </a:pPr>
            <a:r>
              <a:rPr lang="en-US" sz="1200" dirty="0"/>
              <a:t>Developed in </a:t>
            </a:r>
            <a:r>
              <a:rPr lang="en-US" sz="1200" b="1" dirty="0"/>
              <a:t>Python</a:t>
            </a:r>
            <a:r>
              <a:rPr lang="en-US" sz="1200" dirty="0"/>
              <a:t> with deployment on </a:t>
            </a:r>
            <a:r>
              <a:rPr lang="en-US" sz="1200" b="1" dirty="0"/>
              <a:t>AWS:</a:t>
            </a:r>
            <a:endParaRPr lang="en-US" sz="1200" noProof="1"/>
          </a:p>
          <a:p>
            <a:pPr marL="171450" indent="-171450">
              <a:lnSpc>
                <a:spcPct val="110000"/>
              </a:lnSpc>
              <a:spcAft>
                <a:spcPts val="150"/>
              </a:spcAft>
              <a:buFont typeface="Arial" panose="020B0604020202020204" pitchFamily="34" charset="0"/>
              <a:buChar char="•"/>
            </a:pPr>
            <a:r>
              <a:rPr lang="en-US" sz="1200" dirty="0"/>
              <a:t>AWS </a:t>
            </a:r>
            <a:r>
              <a:rPr lang="en-US" sz="1200" b="1" dirty="0"/>
              <a:t>Lambda</a:t>
            </a:r>
            <a:r>
              <a:rPr lang="en-US" sz="1200" dirty="0"/>
              <a:t> </a:t>
            </a:r>
            <a:r>
              <a:rPr lang="en-US" sz="1200" b="1" dirty="0"/>
              <a:t>Functions</a:t>
            </a:r>
            <a:r>
              <a:rPr lang="en-US" sz="1200" dirty="0"/>
              <a:t> &amp; </a:t>
            </a:r>
            <a:r>
              <a:rPr lang="en-US" sz="1200" b="1" dirty="0"/>
              <a:t>Layers</a:t>
            </a:r>
            <a:r>
              <a:rPr lang="en-US" sz="1200" dirty="0"/>
              <a:t>.</a:t>
            </a:r>
            <a:endParaRPr lang="en-US" sz="1200" noProof="1"/>
          </a:p>
          <a:p>
            <a:pPr marL="171450" indent="-171450">
              <a:lnSpc>
                <a:spcPct val="110000"/>
              </a:lnSpc>
              <a:spcAft>
                <a:spcPts val="150"/>
              </a:spcAft>
              <a:buFont typeface="Arial" panose="020B0604020202020204" pitchFamily="34" charset="0"/>
              <a:buChar char="•"/>
            </a:pPr>
            <a:r>
              <a:rPr lang="en-US" sz="1200" dirty="0"/>
              <a:t>Amazon </a:t>
            </a:r>
            <a:r>
              <a:rPr lang="en-US" sz="1200" b="1" dirty="0"/>
              <a:t>RDS</a:t>
            </a:r>
            <a:r>
              <a:rPr lang="en-US" sz="1200" dirty="0"/>
              <a:t> (Relational Database Service).</a:t>
            </a:r>
            <a:endParaRPr lang="en-US" sz="1200" noProof="1"/>
          </a:p>
          <a:p>
            <a:pPr marL="171450" indent="-171450">
              <a:lnSpc>
                <a:spcPct val="110000"/>
              </a:lnSpc>
              <a:spcAft>
                <a:spcPts val="150"/>
              </a:spcAft>
              <a:buFont typeface="Arial" panose="020B0604020202020204" pitchFamily="34" charset="0"/>
              <a:buChar char="•"/>
            </a:pPr>
            <a:r>
              <a:rPr lang="en-US" sz="1200" noProof="1"/>
              <a:t>Amazon </a:t>
            </a:r>
            <a:r>
              <a:rPr lang="en-US" sz="1200" b="1" noProof="1"/>
              <a:t>S3</a:t>
            </a:r>
            <a:r>
              <a:rPr lang="en-US" sz="1200" noProof="1"/>
              <a:t> (Object Storage).</a:t>
            </a:r>
          </a:p>
          <a:p>
            <a:pPr marL="171450" indent="-171450">
              <a:lnSpc>
                <a:spcPct val="110000"/>
              </a:lnSpc>
              <a:spcAft>
                <a:spcPts val="150"/>
              </a:spcAft>
              <a:buFont typeface="Arial" panose="020B0604020202020204" pitchFamily="34" charset="0"/>
              <a:buChar char="•"/>
            </a:pPr>
            <a:r>
              <a:rPr lang="en-US" sz="1200" dirty="0"/>
              <a:t>Amazon </a:t>
            </a:r>
            <a:r>
              <a:rPr lang="en-US" sz="1200" b="1" dirty="0"/>
              <a:t>API</a:t>
            </a:r>
            <a:r>
              <a:rPr lang="en-US" sz="1200" dirty="0"/>
              <a:t> </a:t>
            </a:r>
            <a:r>
              <a:rPr lang="en-US" sz="1200" b="1" dirty="0"/>
              <a:t>Gateway</a:t>
            </a:r>
            <a:r>
              <a:rPr lang="en-US" sz="1200" dirty="0"/>
              <a:t>.</a:t>
            </a:r>
            <a:endParaRPr lang="en-US" sz="1200" noProof="1"/>
          </a:p>
          <a:p>
            <a:pPr marL="171450" indent="-171450">
              <a:lnSpc>
                <a:spcPct val="110000"/>
              </a:lnSpc>
              <a:spcAft>
                <a:spcPts val="150"/>
              </a:spcAft>
              <a:buFont typeface="Arial" panose="020B0604020202020204" pitchFamily="34" charset="0"/>
              <a:buChar char="•"/>
            </a:pPr>
            <a:r>
              <a:rPr lang="en-US" sz="1200" dirty="0"/>
              <a:t>Amazon </a:t>
            </a:r>
            <a:r>
              <a:rPr lang="en-US" sz="1200" b="1" dirty="0"/>
              <a:t>SQS</a:t>
            </a:r>
            <a:r>
              <a:rPr lang="en-US" sz="1200" dirty="0"/>
              <a:t> (Simple Queue Service).</a:t>
            </a:r>
            <a:endParaRPr lang="en-US" sz="1200" noProof="1"/>
          </a:p>
        </p:txBody>
      </p:sp>
      <p:sp>
        <p:nvSpPr>
          <p:cNvPr id="24" name="Google Shape;10527;p9415">
            <a:extLst>
              <a:ext uri="{FF2B5EF4-FFF2-40B4-BE49-F238E27FC236}">
                <a16:creationId xmlns:a16="http://schemas.microsoft.com/office/drawing/2014/main" id="{0197F563-814B-4287-F2C2-79F80B996FC7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342899" y="3033242"/>
            <a:ext cx="3133033" cy="30028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68580" tIns="34290" rIns="68580" bIns="34290" anchor="ctr" anchorCtr="0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ts val="1100"/>
            </a:pPr>
            <a:r>
              <a:rPr lang="en-US" sz="1400" noProof="1">
                <a:solidFill>
                  <a:schemeClr val="bg1"/>
                </a:solidFill>
                <a:latin typeface="+mj-lt"/>
              </a:rPr>
              <a:t>Modularity &amp; Configurability</a:t>
            </a:r>
          </a:p>
        </p:txBody>
      </p:sp>
      <p:sp>
        <p:nvSpPr>
          <p:cNvPr id="25" name="Google Shape;703;p114">
            <a:extLst>
              <a:ext uri="{FF2B5EF4-FFF2-40B4-BE49-F238E27FC236}">
                <a16:creationId xmlns:a16="http://schemas.microsoft.com/office/drawing/2014/main" id="{A5712105-A1DE-0103-DDAE-C543D1034B08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342899" y="3333523"/>
            <a:ext cx="3133032" cy="13593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68580" rIns="68580" bIns="34290" anchor="t" anchorCtr="0"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0000"/>
              </a:lnSpc>
              <a:spcAft>
                <a:spcPts val="150"/>
              </a:spcAft>
            </a:pPr>
            <a:r>
              <a:rPr lang="en-US" sz="1200" b="1" dirty="0"/>
              <a:t>Dynamic hyperparameter tuning</a:t>
            </a:r>
            <a:r>
              <a:rPr lang="en-US" sz="1200" dirty="0"/>
              <a:t> via centralized configuration table.</a:t>
            </a:r>
          </a:p>
          <a:p>
            <a:pPr>
              <a:lnSpc>
                <a:spcPct val="110000"/>
              </a:lnSpc>
              <a:spcAft>
                <a:spcPts val="150"/>
              </a:spcAft>
            </a:pPr>
            <a:r>
              <a:rPr lang="en-US" sz="1200" b="1" dirty="0"/>
              <a:t>Modular</a:t>
            </a:r>
            <a:r>
              <a:rPr lang="en-US" sz="1200" dirty="0"/>
              <a:t> </a:t>
            </a:r>
            <a:r>
              <a:rPr lang="en-US" sz="1200" b="1" dirty="0"/>
              <a:t>design</a:t>
            </a:r>
            <a:r>
              <a:rPr lang="en-US" sz="1200" dirty="0"/>
              <a:t> enabling independent evolution of individual components.</a:t>
            </a:r>
            <a:endParaRPr lang="en-US" sz="1200" noProof="1"/>
          </a:p>
          <a:p>
            <a:pPr>
              <a:lnSpc>
                <a:spcPct val="110000"/>
              </a:lnSpc>
              <a:spcAft>
                <a:spcPts val="150"/>
              </a:spcAft>
            </a:pPr>
            <a:endParaRPr lang="en-US" sz="1200" noProof="1"/>
          </a:p>
          <a:p>
            <a:pPr>
              <a:lnSpc>
                <a:spcPct val="110000"/>
              </a:lnSpc>
              <a:spcAft>
                <a:spcPts val="150"/>
              </a:spcAft>
            </a:pPr>
            <a:endParaRPr lang="en-US" sz="1200" noProof="1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11570287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C02C011-F955-9E3D-4B46-F276E9EA736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E4EDA644-686F-5DAB-6017-65A53A803D8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1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7772400" imgH="10058400" progId="TCLayout.ActiveDocument.1">
                  <p:embed/>
                </p:oleObj>
              </mc:Choice>
              <mc:Fallback>
                <p:oleObj name="think-cell Slide" r:id="rId13" imgW="7772400" imgH="1005840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4EDA644-686F-5DAB-6017-65A53A803D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192" y="1191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89BF845C-C243-4DCC-D347-A255C261695C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342900" y="411480"/>
            <a:ext cx="8455914" cy="370332"/>
          </a:xfrm>
        </p:spPr>
        <p:txBody>
          <a:bodyPr vert="horz" lIns="0" tIns="34290" rIns="0" bIns="3429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noProof="1"/>
              <a:t>Evaluation Methodology (1)</a:t>
            </a: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014AD56C-0C18-156A-1844-4B153817336C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342900" y="255537"/>
            <a:ext cx="8455819" cy="155515"/>
          </a:xfrm>
          <a:prstGeom prst="rect">
            <a:avLst/>
          </a:prstGeom>
        </p:spPr>
        <p:txBody>
          <a:bodyPr vert="horz" lIns="0" tIns="0" rIns="68580" bIns="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825" cap="all" noProof="1">
                <a:solidFill>
                  <a:schemeClr val="accent1"/>
                </a:solidFill>
                <a:latin typeface="Aptos" panose="020B0004020202020204" pitchFamily="34" charset="0"/>
              </a:rPr>
              <a:t>PROTOTYPE &amp; Results</a:t>
            </a:r>
          </a:p>
        </p:txBody>
      </p:sp>
      <p:sp>
        <p:nvSpPr>
          <p:cNvPr id="11" name="Google Shape;703;p114">
            <a:extLst>
              <a:ext uri="{FF2B5EF4-FFF2-40B4-BE49-F238E27FC236}">
                <a16:creationId xmlns:a16="http://schemas.microsoft.com/office/drawing/2014/main" id="{48C01E88-88E6-C44B-5E25-BE9D5A9F96E4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42900" y="1201224"/>
            <a:ext cx="5298619" cy="14329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80" tIns="68580" rIns="68580" bIns="0" anchor="t" anchorCtr="0"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6916">
              <a:spcAft>
                <a:spcPts val="500"/>
              </a:spcAft>
            </a:pPr>
            <a:r>
              <a:rPr lang="en-US" sz="1200" dirty="0"/>
              <a:t>Distributions fitted using hourly-resolution data; model </a:t>
            </a:r>
            <a:r>
              <a:rPr lang="en-US" sz="1200" b="1" dirty="0"/>
              <a:t>evaluated</a:t>
            </a:r>
            <a:r>
              <a:rPr lang="en-US" sz="1200" dirty="0"/>
              <a:t> at </a:t>
            </a:r>
            <a:r>
              <a:rPr lang="en-US" sz="1200" b="1" dirty="0"/>
              <a:t>daily</a:t>
            </a:r>
            <a:r>
              <a:rPr lang="en-US" sz="1200" dirty="0"/>
              <a:t> </a:t>
            </a:r>
            <a:r>
              <a:rPr lang="en-US" sz="1200" b="1" dirty="0"/>
              <a:t>scale</a:t>
            </a:r>
            <a:r>
              <a:rPr lang="en-US" sz="1200" dirty="0"/>
              <a:t> using two approaches:</a:t>
            </a:r>
            <a:endParaRPr lang="en-US" sz="1200" b="1" noProof="1"/>
          </a:p>
          <a:p>
            <a:pPr marL="258366" indent="-171450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en-US" sz="1200" b="1" dirty="0"/>
              <a:t>Hourly-based:</a:t>
            </a:r>
            <a:r>
              <a:rPr lang="en-US" sz="1200" dirty="0"/>
              <a:t> metrics computed from hourly predictions, then reported by day.</a:t>
            </a:r>
          </a:p>
          <a:p>
            <a:pPr marL="258366" indent="-171450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en-US" sz="1200" b="1" dirty="0"/>
              <a:t>Daily-based:</a:t>
            </a:r>
            <a:r>
              <a:rPr lang="en-US" sz="1200" dirty="0"/>
              <a:t> predictions discretized into business days, with metrics directly evaluated at this scale.</a:t>
            </a:r>
            <a:endParaRPr lang="en-US" sz="1200" noProof="1"/>
          </a:p>
        </p:txBody>
      </p:sp>
      <p:sp>
        <p:nvSpPr>
          <p:cNvPr id="12" name="Google Shape;10527;p9415">
            <a:extLst>
              <a:ext uri="{FF2B5EF4-FFF2-40B4-BE49-F238E27FC236}">
                <a16:creationId xmlns:a16="http://schemas.microsoft.com/office/drawing/2014/main" id="{54946860-9F53-C37D-7C9A-D8B168E5C5F1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342900" y="900943"/>
            <a:ext cx="5298621" cy="30028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68580" tIns="34290" rIns="68580" bIns="34290" anchor="ctr" anchorCtr="0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ts val="1100"/>
            </a:pPr>
            <a:r>
              <a:rPr lang="en-US" sz="1400" noProof="1">
                <a:solidFill>
                  <a:schemeClr val="bg1"/>
                </a:solidFill>
                <a:latin typeface="+mj-lt"/>
              </a:rPr>
              <a:t>Estimations Time Resolution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E70C65EF-8FCA-5012-9E39-97A36E16E966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5915892" y="1"/>
            <a:ext cx="3228108" cy="5143500"/>
          </a:xfrm>
          <a:prstGeom prst="rect">
            <a:avLst/>
          </a:prstGeom>
          <a:solidFill>
            <a:schemeClr val="bg2"/>
          </a:solidFill>
        </p:spPr>
        <p:txBody>
          <a:bodyPr vert="horz" lIns="342900" tIns="68580" rIns="274320" bIns="68580" rtlCol="0" anchor="ctr">
            <a:normAutofit/>
          </a:bodyPr>
          <a:lstStyle>
            <a:defPPr>
              <a:defRPr lang="en-US"/>
            </a:defPPr>
            <a:lvl1pPr marL="0" indent="0" algn="l" defTabSz="685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indent="0" algn="l" defTabSz="6858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6858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indent="-228600" algn="l" defTabSz="6858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-228600" algn="l" defTabSz="6858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indent="-228600" algn="l" defTabSz="6858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indent="-228600" algn="l" defTabSz="6858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indent="-228600" algn="l" defTabSz="6858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indent="-228600" algn="l" defTabSz="6858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0000"/>
              </a:lnSpc>
              <a:spcBef>
                <a:spcPts val="500"/>
              </a:spcBef>
              <a:buClrTx/>
            </a:pPr>
            <a:r>
              <a:rPr lang="en-US" sz="1400" dirty="0">
                <a:solidFill>
                  <a:srgbClr val="125E4B"/>
                </a:solidFill>
              </a:rPr>
              <a:t>Evaluation focused on the system’s ability to accurately predict delivery time windows for orders, leveraging event data reported by carriers throughout the shipment process.</a:t>
            </a:r>
          </a:p>
        </p:txBody>
      </p:sp>
      <p:sp>
        <p:nvSpPr>
          <p:cNvPr id="16" name="Google Shape;703;p114">
            <a:extLst>
              <a:ext uri="{FF2B5EF4-FFF2-40B4-BE49-F238E27FC236}">
                <a16:creationId xmlns:a16="http://schemas.microsoft.com/office/drawing/2014/main" id="{4106F524-83CE-198C-89D0-684FBCD952A2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342900" y="2976838"/>
            <a:ext cx="5298619" cy="5596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80" tIns="68580" rIns="68580" bIns="0" anchor="t" anchorCtr="0"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6916">
              <a:spcAft>
                <a:spcPts val="600"/>
              </a:spcAft>
            </a:pPr>
            <a:r>
              <a:rPr lang="en-US" sz="1200" b="1" dirty="0"/>
              <a:t>Dispatch Stage:</a:t>
            </a:r>
            <a:r>
              <a:rPr lang="en-US" sz="1200" dirty="0"/>
              <a:t> both dispatch time and shipment time must be estimated.</a:t>
            </a:r>
          </a:p>
          <a:p>
            <a:pPr marL="86916">
              <a:spcAft>
                <a:spcPts val="600"/>
              </a:spcAft>
            </a:pPr>
            <a:r>
              <a:rPr lang="en-US" sz="1200" b="1" dirty="0"/>
              <a:t>Shipment Stage:</a:t>
            </a:r>
            <a:r>
              <a:rPr lang="en-US" sz="1200" dirty="0"/>
              <a:t> dispatch time already known; only shipment time is estimated.</a:t>
            </a:r>
            <a:endParaRPr lang="en-US" sz="1200" noProof="1"/>
          </a:p>
        </p:txBody>
      </p:sp>
      <p:sp>
        <p:nvSpPr>
          <p:cNvPr id="21" name="Google Shape;10527;p9415">
            <a:extLst>
              <a:ext uri="{FF2B5EF4-FFF2-40B4-BE49-F238E27FC236}">
                <a16:creationId xmlns:a16="http://schemas.microsoft.com/office/drawing/2014/main" id="{5C5F3FDF-63D2-681E-5DC2-F97E6B33E1A2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342900" y="2676557"/>
            <a:ext cx="5298621" cy="30028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68580" tIns="34290" rIns="68580" bIns="34290" anchor="ctr" anchorCtr="0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ts val="1100"/>
            </a:pPr>
            <a:r>
              <a:rPr lang="en-US" sz="1400" noProof="1">
                <a:solidFill>
                  <a:schemeClr val="bg1"/>
                </a:solidFill>
                <a:latin typeface="+mj-lt"/>
              </a:rPr>
              <a:t>Operational Stages</a:t>
            </a:r>
          </a:p>
        </p:txBody>
      </p:sp>
      <p:sp>
        <p:nvSpPr>
          <p:cNvPr id="24" name="Google Shape;703;p114">
            <a:extLst>
              <a:ext uri="{FF2B5EF4-FFF2-40B4-BE49-F238E27FC236}">
                <a16:creationId xmlns:a16="http://schemas.microsoft.com/office/drawing/2014/main" id="{E65FC23B-C239-0AA1-1C5A-FA07501FC09F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342900" y="3951095"/>
            <a:ext cx="5298619" cy="69208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80" tIns="68580" rIns="68580" bIns="0" anchor="t" anchorCtr="0"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6916">
              <a:spcAft>
                <a:spcPts val="600"/>
              </a:spcAft>
            </a:pPr>
            <a:r>
              <a:rPr lang="en-US" sz="1200" b="1" dirty="0"/>
              <a:t>Training Set:</a:t>
            </a:r>
            <a:r>
              <a:rPr lang="en-US" sz="1200" dirty="0"/>
              <a:t> used to fit the probability distributions.</a:t>
            </a:r>
          </a:p>
          <a:p>
            <a:pPr marL="86916">
              <a:spcAft>
                <a:spcPts val="600"/>
              </a:spcAft>
            </a:pPr>
            <a:r>
              <a:rPr lang="en-US" sz="1200" b="1" dirty="0"/>
              <a:t>Test Set:</a:t>
            </a:r>
            <a:r>
              <a:rPr lang="en-US" sz="1200" dirty="0"/>
              <a:t> completely unseen during training, used solely for performance evaluation.</a:t>
            </a:r>
            <a:endParaRPr lang="en-US" sz="1200" noProof="1"/>
          </a:p>
        </p:txBody>
      </p:sp>
      <p:sp>
        <p:nvSpPr>
          <p:cNvPr id="25" name="Google Shape;10527;p9415">
            <a:extLst>
              <a:ext uri="{FF2B5EF4-FFF2-40B4-BE49-F238E27FC236}">
                <a16:creationId xmlns:a16="http://schemas.microsoft.com/office/drawing/2014/main" id="{75D55477-0E75-FB03-94B0-41D8BF6E80B1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342900" y="3650814"/>
            <a:ext cx="5298621" cy="30028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68580" tIns="34290" rIns="68580" bIns="34290" anchor="ctr" anchorCtr="0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ts val="1100"/>
            </a:pPr>
            <a:r>
              <a:rPr lang="en-US" sz="1400" noProof="1">
                <a:solidFill>
                  <a:schemeClr val="bg1"/>
                </a:solidFill>
                <a:latin typeface="+mj-lt"/>
              </a:rPr>
              <a:t>Set split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39048414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ADDEBF1-9BAB-C9BD-6E12-57EF6B81709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02A0E797-5D25-A8C1-B5C0-4688D3B0A69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1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7772400" imgH="10058400" progId="TCLayout.ActiveDocument.1">
                  <p:embed/>
                </p:oleObj>
              </mc:Choice>
              <mc:Fallback>
                <p:oleObj name="think-cell Slide" r:id="rId11" imgW="7772400" imgH="1005840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2A0E797-5D25-A8C1-B5C0-4688D3B0A6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2" y="1191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9EA46A92-7F4A-FF38-33FC-2FE2FCB474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342900" y="411480"/>
            <a:ext cx="8455914" cy="370332"/>
          </a:xfrm>
        </p:spPr>
        <p:txBody>
          <a:bodyPr vert="horz" lIns="0" tIns="34290" rIns="0" bIns="3429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noProof="1"/>
              <a:t>Evaluation Methodology (2)</a:t>
            </a: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A968C0A7-F5B0-B079-6FD7-F9D63B67C288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342900" y="255537"/>
            <a:ext cx="8455819" cy="155515"/>
          </a:xfrm>
          <a:prstGeom prst="rect">
            <a:avLst/>
          </a:prstGeom>
        </p:spPr>
        <p:txBody>
          <a:bodyPr vert="horz" lIns="0" tIns="0" rIns="68580" bIns="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825" cap="all" noProof="1">
                <a:solidFill>
                  <a:schemeClr val="accent1"/>
                </a:solidFill>
                <a:latin typeface="Aptos" panose="020B0004020202020204" pitchFamily="34" charset="0"/>
              </a:rPr>
              <a:t>PROTOTYPE &amp; Results</a:t>
            </a:r>
          </a:p>
        </p:txBody>
      </p:sp>
      <p:sp>
        <p:nvSpPr>
          <p:cNvPr id="11" name="Google Shape;703;p114">
            <a:extLst>
              <a:ext uri="{FF2B5EF4-FFF2-40B4-BE49-F238E27FC236}">
                <a16:creationId xmlns:a16="http://schemas.microsoft.com/office/drawing/2014/main" id="{241C91F2-5FA7-7B0B-BE24-18EB2657DEF5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42902" y="1201224"/>
            <a:ext cx="5298619" cy="1996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80" tIns="68580" rIns="68580" bIns="0" anchor="t" anchorCtr="0"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15516" indent="-228600">
              <a:spcAft>
                <a:spcPts val="600"/>
              </a:spcAft>
              <a:buFont typeface="+mj-lt"/>
              <a:buAutoNum type="arabicPeriod"/>
            </a:pPr>
            <a:r>
              <a:rPr lang="en-US" sz="1200" noProof="1"/>
              <a:t>Quantitative evaluation on three metrics:</a:t>
            </a:r>
          </a:p>
          <a:p>
            <a:pPr marL="601266" lvl="1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b="1" noProof="1"/>
              <a:t>Sharpness</a:t>
            </a:r>
            <a:r>
              <a:rPr lang="en-US" sz="1200" noProof="1"/>
              <a:t>: width of predicted intervals.</a:t>
            </a:r>
          </a:p>
          <a:p>
            <a:pPr marL="601266" lvl="1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b="1" noProof="1"/>
              <a:t>Coverage: </a:t>
            </a:r>
            <a:r>
              <a:rPr lang="en-US" sz="1200" noProof="1"/>
              <a:t>proportion of observations within the predicted interval.</a:t>
            </a:r>
          </a:p>
          <a:p>
            <a:pPr marL="601266" lvl="1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b="1" noProof="1"/>
              <a:t>Interval Score: </a:t>
            </a:r>
            <a:r>
              <a:rPr lang="en-US" sz="1200" noProof="1"/>
              <a:t>single measure accounting for both sharpness and coverage.</a:t>
            </a:r>
          </a:p>
          <a:p>
            <a:pPr marL="315516" indent="-228600">
              <a:spcAft>
                <a:spcPts val="600"/>
              </a:spcAft>
              <a:buFont typeface="+mj-lt"/>
              <a:buAutoNum type="arabicPeriod"/>
            </a:pPr>
            <a:r>
              <a:rPr lang="en-US" sz="1200" b="1" noProof="1"/>
              <a:t>Sensitivity Analysis</a:t>
            </a:r>
            <a:r>
              <a:rPr lang="en-US" sz="1200" noProof="1"/>
              <a:t>: </a:t>
            </a:r>
            <a:r>
              <a:rPr lang="en-US" sz="1200" dirty="0"/>
              <a:t>assessing model coverage across varying confidence levels.</a:t>
            </a:r>
          </a:p>
          <a:p>
            <a:pPr marL="315516" indent="-228600">
              <a:spcAft>
                <a:spcPts val="600"/>
              </a:spcAft>
              <a:buFont typeface="+mj-lt"/>
              <a:buAutoNum type="arabicPeriod"/>
            </a:pPr>
            <a:r>
              <a:rPr lang="en-US" sz="1200" b="1" noProof="1"/>
              <a:t>Visualization</a:t>
            </a:r>
            <a:r>
              <a:rPr lang="en-US" sz="1200" noProof="1"/>
              <a:t> of the evolution of </a:t>
            </a:r>
            <a:r>
              <a:rPr lang="en-US" sz="1200" b="1" noProof="1"/>
              <a:t>shipment</a:t>
            </a:r>
            <a:r>
              <a:rPr lang="en-US" sz="1200" noProof="1"/>
              <a:t> </a:t>
            </a:r>
            <a:r>
              <a:rPr lang="en-US" sz="1200" b="1" noProof="1"/>
              <a:t>estimates</a:t>
            </a:r>
            <a:r>
              <a:rPr lang="en-US" sz="1200" noProof="1"/>
              <a:t>.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F1D5394F-09DC-B57C-58A0-D6A90F141E14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5915892" y="1"/>
            <a:ext cx="3228108" cy="5143500"/>
          </a:xfrm>
          <a:prstGeom prst="rect">
            <a:avLst/>
          </a:prstGeom>
          <a:solidFill>
            <a:schemeClr val="bg2"/>
          </a:solidFill>
        </p:spPr>
        <p:txBody>
          <a:bodyPr vert="horz" lIns="342900" tIns="68580" rIns="274320" bIns="68580" rtlCol="0" anchor="ctr">
            <a:normAutofit/>
          </a:bodyPr>
          <a:lstStyle>
            <a:defPPr>
              <a:defRPr lang="en-US"/>
            </a:defPPr>
            <a:lvl1pPr marL="0" indent="0" algn="l" defTabSz="685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indent="0" algn="l" defTabSz="6858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6858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indent="-228600" algn="l" defTabSz="6858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-228600" algn="l" defTabSz="6858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indent="-228600" algn="l" defTabSz="6858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indent="-228600" algn="l" defTabSz="6858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indent="-228600" algn="l" defTabSz="6858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indent="-228600" algn="l" defTabSz="6858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0000"/>
              </a:lnSpc>
              <a:spcBef>
                <a:spcPts val="500"/>
              </a:spcBef>
              <a:buClrTx/>
            </a:pPr>
            <a:r>
              <a:rPr lang="en-US" sz="1400" dirty="0">
                <a:solidFill>
                  <a:srgbClr val="125E4B"/>
                </a:solidFill>
              </a:rPr>
              <a:t>Evaluation focused on the system’s ability to accurately predict delivery time windows for orders, leveraging event data reported by carriers throughout the shipment process.</a:t>
            </a:r>
          </a:p>
        </p:txBody>
      </p:sp>
      <p:sp>
        <p:nvSpPr>
          <p:cNvPr id="16" name="Google Shape;703;p114">
            <a:extLst>
              <a:ext uri="{FF2B5EF4-FFF2-40B4-BE49-F238E27FC236}">
                <a16:creationId xmlns:a16="http://schemas.microsoft.com/office/drawing/2014/main" id="{EAADAD14-3BB7-3AA5-18AD-D07F0550791E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342902" y="3746374"/>
            <a:ext cx="5298619" cy="11415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80" tIns="68580" rIns="68580" bIns="0" anchor="t" anchorCtr="0"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6916">
              <a:spcAft>
                <a:spcPts val="600"/>
              </a:spcAft>
            </a:pPr>
            <a:r>
              <a:rPr lang="en-US" sz="1200" dirty="0"/>
              <a:t>Multiple implementations tested for </a:t>
            </a:r>
            <a:r>
              <a:rPr lang="en-US" sz="1200" dirty="0" err="1"/>
              <a:t>realtime</a:t>
            </a:r>
            <a:r>
              <a:rPr lang="en-US" sz="1200" dirty="0"/>
              <a:t> indicators.</a:t>
            </a:r>
          </a:p>
          <a:p>
            <a:pPr marL="86916">
              <a:spcAft>
                <a:spcPts val="600"/>
              </a:spcAft>
            </a:pPr>
            <a:r>
              <a:rPr lang="en-US" sz="1200" dirty="0"/>
              <a:t>Best-performing solution:</a:t>
            </a:r>
          </a:p>
          <a:p>
            <a:pPr marL="258366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b="1" dirty="0"/>
              <a:t>Polynomial</a:t>
            </a:r>
            <a:r>
              <a:rPr lang="en-US" sz="1200" dirty="0"/>
              <a:t> version of the </a:t>
            </a:r>
            <a:r>
              <a:rPr lang="en-US" sz="1200" b="1" dirty="0"/>
              <a:t>TFST</a:t>
            </a:r>
            <a:r>
              <a:rPr lang="en-US" sz="1200" dirty="0"/>
              <a:t> </a:t>
            </a:r>
            <a:r>
              <a:rPr lang="en-US" sz="1200" b="1" dirty="0"/>
              <a:t>weighting</a:t>
            </a:r>
            <a:r>
              <a:rPr lang="en-US" sz="1200" dirty="0"/>
              <a:t> </a:t>
            </a:r>
            <a:r>
              <a:rPr lang="en-US" sz="1200" b="1" dirty="0"/>
              <a:t>factor</a:t>
            </a:r>
            <a:r>
              <a:rPr lang="en-US" sz="1200" dirty="0"/>
              <a:t>.</a:t>
            </a:r>
          </a:p>
          <a:p>
            <a:pPr marL="258366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b="1" dirty="0"/>
              <a:t>Baseline</a:t>
            </a:r>
            <a:r>
              <a:rPr lang="en-US" sz="1200" dirty="0"/>
              <a:t> approach for </a:t>
            </a:r>
            <a:r>
              <a:rPr lang="en-US" sz="1200" b="1" dirty="0"/>
              <a:t>DRT</a:t>
            </a:r>
            <a:r>
              <a:rPr lang="en-US" sz="1200" dirty="0"/>
              <a:t>.</a:t>
            </a:r>
          </a:p>
        </p:txBody>
      </p:sp>
      <p:sp>
        <p:nvSpPr>
          <p:cNvPr id="21" name="Google Shape;10527;p9415">
            <a:extLst>
              <a:ext uri="{FF2B5EF4-FFF2-40B4-BE49-F238E27FC236}">
                <a16:creationId xmlns:a16="http://schemas.microsoft.com/office/drawing/2014/main" id="{0621CEC3-E15E-2C9B-D645-812283B3997F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342900" y="3446093"/>
            <a:ext cx="5298621" cy="30028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68580" tIns="34290" rIns="68580" bIns="34290" anchor="ctr" anchorCtr="0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ts val="1100"/>
            </a:pPr>
            <a:r>
              <a:rPr lang="en-US" sz="1400" noProof="1">
                <a:solidFill>
                  <a:schemeClr val="bg1"/>
                </a:solidFill>
                <a:latin typeface="+mj-lt"/>
              </a:rPr>
              <a:t>Model Variants</a:t>
            </a:r>
          </a:p>
        </p:txBody>
      </p:sp>
      <p:sp>
        <p:nvSpPr>
          <p:cNvPr id="27" name="Google Shape;10527;p9415">
            <a:extLst>
              <a:ext uri="{FF2B5EF4-FFF2-40B4-BE49-F238E27FC236}">
                <a16:creationId xmlns:a16="http://schemas.microsoft.com/office/drawing/2014/main" id="{21C81543-9AAE-0BC5-0B93-549CCEC055AC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342900" y="900943"/>
            <a:ext cx="5298621" cy="30028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68580" tIns="34290" rIns="68580" bIns="34290" anchor="ctr" anchorCtr="0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ts val="1100"/>
            </a:pPr>
            <a:r>
              <a:rPr lang="en-US" sz="1400" noProof="1">
                <a:solidFill>
                  <a:schemeClr val="bg1"/>
                </a:solidFill>
                <a:latin typeface="+mj-lt"/>
              </a:rPr>
              <a:t>Evaluation step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08264774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E23F06C-DCEA-19CE-2CF3-D5856DE3BC0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FFC25BFD-896D-4814-FF51-CE1C14157E8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1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FC25BFD-896D-4814-FF51-CE1C14157E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191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05D7BE7D-5D25-B054-522C-25670EAD9AB6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 vert="horz" lIns="0" tIns="34290" rIns="0" bIns="3429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noProof="1"/>
              <a:t>Quantitative Evaluation</a:t>
            </a: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236E60F9-6B75-01D2-2063-864A52EC68D0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342900" y="255537"/>
            <a:ext cx="8455819" cy="155515"/>
          </a:xfrm>
          <a:prstGeom prst="rect">
            <a:avLst/>
          </a:prstGeom>
        </p:spPr>
        <p:txBody>
          <a:bodyPr vert="horz" lIns="0" tIns="0" rIns="68580" bIns="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825" cap="all" noProof="1">
                <a:solidFill>
                  <a:schemeClr val="accent1"/>
                </a:solidFill>
                <a:latin typeface="Aptos" panose="020B0004020202020204" pitchFamily="34" charset="0"/>
              </a:rPr>
              <a:t>Prototype &amp; RESULTS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AD74106-42DD-8B7D-A03D-BE4902E71FF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28908628"/>
              </p:ext>
            </p:extLst>
          </p:nvPr>
        </p:nvGraphicFramePr>
        <p:xfrm>
          <a:off x="342897" y="897032"/>
          <a:ext cx="8455822" cy="1483360"/>
        </p:xfrm>
        <a:graphic>
          <a:graphicData uri="http://schemas.openxmlformats.org/drawingml/2006/table">
            <a:tbl>
              <a:tblPr firstRow="1" bandRow="1">
                <a:tableStyleId>{63B48042-AE31-4177-9097-B33D8566F184}</a:tableStyleId>
              </a:tblPr>
              <a:tblGrid>
                <a:gridCol w="2113954">
                  <a:extLst>
                    <a:ext uri="{9D8B030D-6E8A-4147-A177-3AD203B41FA5}">
                      <a16:colId xmlns:a16="http://schemas.microsoft.com/office/drawing/2014/main" val="770372340"/>
                    </a:ext>
                  </a:extLst>
                </a:gridCol>
                <a:gridCol w="1056978">
                  <a:extLst>
                    <a:ext uri="{9D8B030D-6E8A-4147-A177-3AD203B41FA5}">
                      <a16:colId xmlns:a16="http://schemas.microsoft.com/office/drawing/2014/main" val="167631828"/>
                    </a:ext>
                  </a:extLst>
                </a:gridCol>
                <a:gridCol w="1056978">
                  <a:extLst>
                    <a:ext uri="{9D8B030D-6E8A-4147-A177-3AD203B41FA5}">
                      <a16:colId xmlns:a16="http://schemas.microsoft.com/office/drawing/2014/main" val="1353527839"/>
                    </a:ext>
                  </a:extLst>
                </a:gridCol>
                <a:gridCol w="1056978">
                  <a:extLst>
                    <a:ext uri="{9D8B030D-6E8A-4147-A177-3AD203B41FA5}">
                      <a16:colId xmlns:a16="http://schemas.microsoft.com/office/drawing/2014/main" val="3291393602"/>
                    </a:ext>
                  </a:extLst>
                </a:gridCol>
                <a:gridCol w="1056978">
                  <a:extLst>
                    <a:ext uri="{9D8B030D-6E8A-4147-A177-3AD203B41FA5}">
                      <a16:colId xmlns:a16="http://schemas.microsoft.com/office/drawing/2014/main" val="1880537368"/>
                    </a:ext>
                  </a:extLst>
                </a:gridCol>
                <a:gridCol w="1056978">
                  <a:extLst>
                    <a:ext uri="{9D8B030D-6E8A-4147-A177-3AD203B41FA5}">
                      <a16:colId xmlns:a16="http://schemas.microsoft.com/office/drawing/2014/main" val="615862075"/>
                    </a:ext>
                  </a:extLst>
                </a:gridCol>
                <a:gridCol w="1056978">
                  <a:extLst>
                    <a:ext uri="{9D8B030D-6E8A-4147-A177-3AD203B41FA5}">
                      <a16:colId xmlns:a16="http://schemas.microsoft.com/office/drawing/2014/main" val="2756556293"/>
                    </a:ext>
                  </a:extLst>
                </a:gridCol>
              </a:tblGrid>
              <a:tr h="370840">
                <a:tc rowSpan="2">
                  <a:txBody>
                    <a:bodyPr/>
                    <a:lstStyle/>
                    <a:p>
                      <a:r>
                        <a:rPr lang="en-US" sz="1300" b="1" dirty="0">
                          <a:latin typeface="+mn-lt"/>
                        </a:rPr>
                        <a:t>Operational Stage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tc gridSpan="2">
                  <a:txBody>
                    <a:bodyPr/>
                    <a:lstStyle/>
                    <a:p>
                      <a:r>
                        <a:rPr lang="en-US" sz="1300" b="1" dirty="0">
                          <a:latin typeface="+mn-lt"/>
                        </a:rPr>
                        <a:t>Sharpness (days)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en-US" sz="1300" b="1" dirty="0">
                          <a:latin typeface="+mn-lt"/>
                        </a:rPr>
                        <a:t>Coverage (%)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en-US" sz="1300" b="1" dirty="0">
                          <a:latin typeface="+mn-lt"/>
                        </a:rPr>
                        <a:t>Interval Score (days)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87617332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300" b="1" dirty="0">
                          <a:latin typeface="+mn-lt"/>
                        </a:rPr>
                        <a:t>Hourly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300" b="1" dirty="0">
                          <a:latin typeface="+mn-lt"/>
                        </a:rPr>
                        <a:t>Daily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300" b="1" dirty="0">
                          <a:latin typeface="+mn-lt"/>
                        </a:rPr>
                        <a:t>Hourly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300" b="1" dirty="0">
                          <a:latin typeface="+mn-lt"/>
                        </a:rPr>
                        <a:t>Daily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300" b="1" dirty="0">
                          <a:latin typeface="+mn-lt"/>
                        </a:rPr>
                        <a:t>Hourly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300" b="1" dirty="0">
                          <a:latin typeface="+mn-lt"/>
                        </a:rPr>
                        <a:t>Daily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728860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300" dirty="0">
                          <a:latin typeface="+mn-lt"/>
                        </a:rPr>
                        <a:t>Dispatch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300" dirty="0">
                          <a:latin typeface="+mn-lt"/>
                        </a:rPr>
                        <a:t>2.15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300" dirty="0">
                          <a:latin typeface="+mn-lt"/>
                        </a:rPr>
                        <a:t>2.20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300" dirty="0">
                          <a:latin typeface="+mn-lt"/>
                        </a:rPr>
                        <a:t>0.28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300" dirty="0">
                          <a:latin typeface="+mn-lt"/>
                        </a:rPr>
                        <a:t>0.56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300" dirty="0">
                          <a:latin typeface="+mn-lt"/>
                        </a:rPr>
                        <a:t>4.22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300" dirty="0">
                          <a:latin typeface="+mn-lt"/>
                        </a:rPr>
                        <a:t>4.26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3852023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300" dirty="0">
                          <a:latin typeface="+mn-lt"/>
                        </a:rPr>
                        <a:t>Shipment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300" dirty="0">
                          <a:latin typeface="+mn-lt"/>
                        </a:rPr>
                        <a:t>1.03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300" dirty="0">
                          <a:latin typeface="+mn-lt"/>
                        </a:rPr>
                        <a:t>1.18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300" dirty="0">
                          <a:latin typeface="+mn-lt"/>
                        </a:rPr>
                        <a:t>0.52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300" dirty="0">
                          <a:latin typeface="+mn-lt"/>
                        </a:rPr>
                        <a:t>0.84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300" dirty="0">
                          <a:latin typeface="+mn-lt"/>
                        </a:rPr>
                        <a:t>1.45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300" dirty="0">
                          <a:latin typeface="+mn-lt"/>
                        </a:rPr>
                        <a:t>1.63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15230"/>
                  </a:ext>
                </a:extLst>
              </a:tr>
            </a:tbl>
          </a:graphicData>
        </a:graphic>
      </p:graphicFrame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772F7656-F462-5B68-A82B-02C0D0E9D6A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73774627"/>
              </p:ext>
            </p:extLst>
          </p:nvPr>
        </p:nvGraphicFramePr>
        <p:xfrm>
          <a:off x="342897" y="2963010"/>
          <a:ext cx="8455822" cy="1483360"/>
        </p:xfrm>
        <a:graphic>
          <a:graphicData uri="http://schemas.openxmlformats.org/drawingml/2006/table">
            <a:tbl>
              <a:tblPr firstRow="1" bandRow="1">
                <a:tableStyleId>{63B48042-AE31-4177-9097-B33D8566F184}</a:tableStyleId>
              </a:tblPr>
              <a:tblGrid>
                <a:gridCol w="2113954">
                  <a:extLst>
                    <a:ext uri="{9D8B030D-6E8A-4147-A177-3AD203B41FA5}">
                      <a16:colId xmlns:a16="http://schemas.microsoft.com/office/drawing/2014/main" val="770372340"/>
                    </a:ext>
                  </a:extLst>
                </a:gridCol>
                <a:gridCol w="1056978">
                  <a:extLst>
                    <a:ext uri="{9D8B030D-6E8A-4147-A177-3AD203B41FA5}">
                      <a16:colId xmlns:a16="http://schemas.microsoft.com/office/drawing/2014/main" val="167631828"/>
                    </a:ext>
                  </a:extLst>
                </a:gridCol>
                <a:gridCol w="1056978">
                  <a:extLst>
                    <a:ext uri="{9D8B030D-6E8A-4147-A177-3AD203B41FA5}">
                      <a16:colId xmlns:a16="http://schemas.microsoft.com/office/drawing/2014/main" val="1353527839"/>
                    </a:ext>
                  </a:extLst>
                </a:gridCol>
                <a:gridCol w="1056978">
                  <a:extLst>
                    <a:ext uri="{9D8B030D-6E8A-4147-A177-3AD203B41FA5}">
                      <a16:colId xmlns:a16="http://schemas.microsoft.com/office/drawing/2014/main" val="3291393602"/>
                    </a:ext>
                  </a:extLst>
                </a:gridCol>
                <a:gridCol w="1056978">
                  <a:extLst>
                    <a:ext uri="{9D8B030D-6E8A-4147-A177-3AD203B41FA5}">
                      <a16:colId xmlns:a16="http://schemas.microsoft.com/office/drawing/2014/main" val="1880537368"/>
                    </a:ext>
                  </a:extLst>
                </a:gridCol>
                <a:gridCol w="1056978">
                  <a:extLst>
                    <a:ext uri="{9D8B030D-6E8A-4147-A177-3AD203B41FA5}">
                      <a16:colId xmlns:a16="http://schemas.microsoft.com/office/drawing/2014/main" val="615862075"/>
                    </a:ext>
                  </a:extLst>
                </a:gridCol>
                <a:gridCol w="1056978">
                  <a:extLst>
                    <a:ext uri="{9D8B030D-6E8A-4147-A177-3AD203B41FA5}">
                      <a16:colId xmlns:a16="http://schemas.microsoft.com/office/drawing/2014/main" val="2756556293"/>
                    </a:ext>
                  </a:extLst>
                </a:gridCol>
              </a:tblGrid>
              <a:tr h="370840">
                <a:tc rowSpan="2">
                  <a:txBody>
                    <a:bodyPr/>
                    <a:lstStyle/>
                    <a:p>
                      <a:r>
                        <a:rPr lang="en-US" sz="1300" b="1" dirty="0">
                          <a:latin typeface="+mn-lt"/>
                        </a:rPr>
                        <a:t>Operational Stage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tc gridSpan="2">
                  <a:txBody>
                    <a:bodyPr/>
                    <a:lstStyle/>
                    <a:p>
                      <a:r>
                        <a:rPr lang="en-US" sz="1300" b="1" dirty="0">
                          <a:latin typeface="+mn-lt"/>
                        </a:rPr>
                        <a:t>Sharpness (days)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en-US" sz="1300" b="1" dirty="0">
                          <a:latin typeface="+mn-lt"/>
                        </a:rPr>
                        <a:t>Coverage (%)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en-US" sz="1300" b="1" dirty="0">
                          <a:latin typeface="+mn-lt"/>
                        </a:rPr>
                        <a:t>Interval Score (days)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87617332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300" b="1" dirty="0">
                          <a:latin typeface="+mn-lt"/>
                        </a:rPr>
                        <a:t>Hourly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300" b="1" dirty="0">
                          <a:latin typeface="+mn-lt"/>
                        </a:rPr>
                        <a:t>Daily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300" b="1" dirty="0">
                          <a:latin typeface="+mn-lt"/>
                        </a:rPr>
                        <a:t>Hourly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300" b="1" dirty="0">
                          <a:latin typeface="+mn-lt"/>
                        </a:rPr>
                        <a:t>Daily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300" b="1" dirty="0">
                          <a:latin typeface="+mn-lt"/>
                        </a:rPr>
                        <a:t>Hourly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300" b="1" dirty="0">
                          <a:latin typeface="+mn-lt"/>
                        </a:rPr>
                        <a:t>Daily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728860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300" dirty="0">
                          <a:latin typeface="+mn-lt"/>
                        </a:rPr>
                        <a:t>Dispatch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300" dirty="0">
                          <a:latin typeface="+mn-lt"/>
                        </a:rPr>
                        <a:t>2.87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300" dirty="0">
                          <a:latin typeface="+mn-lt"/>
                        </a:rPr>
                        <a:t>3.00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300" dirty="0">
                          <a:latin typeface="+mn-lt"/>
                        </a:rPr>
                        <a:t>0.3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300" dirty="0">
                          <a:latin typeface="+mn-lt"/>
                        </a:rPr>
                        <a:t>0.5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300" dirty="0">
                          <a:latin typeface="+mn-lt"/>
                        </a:rPr>
                        <a:t>7.81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300" dirty="0">
                          <a:latin typeface="+mn-lt"/>
                        </a:rPr>
                        <a:t>7.44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3852023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300" dirty="0">
                          <a:latin typeface="+mn-lt"/>
                        </a:rPr>
                        <a:t>Shipment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300" dirty="0">
                          <a:latin typeface="+mn-lt"/>
                        </a:rPr>
                        <a:t>1.30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300" dirty="0">
                          <a:latin typeface="+mn-lt"/>
                        </a:rPr>
                        <a:t>1.55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300" dirty="0">
                          <a:latin typeface="+mn-lt"/>
                        </a:rPr>
                        <a:t>0.63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300" dirty="0">
                          <a:latin typeface="+mn-lt"/>
                        </a:rPr>
                        <a:t>0.86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300" dirty="0">
                          <a:latin typeface="+mn-lt"/>
                        </a:rPr>
                        <a:t>1.99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300" dirty="0">
                          <a:latin typeface="+mn-lt"/>
                        </a:rPr>
                        <a:t>2.20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15230"/>
                  </a:ext>
                </a:extLst>
              </a:tr>
            </a:tbl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D9694C4E-5D68-BC16-F60F-2033F2CDCBFC}"/>
              </a:ext>
            </a:extLst>
          </p:cNvPr>
          <p:cNvSpPr txBox="1"/>
          <p:nvPr/>
        </p:nvSpPr>
        <p:spPr>
          <a:xfrm>
            <a:off x="342897" y="2387882"/>
            <a:ext cx="845582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latin typeface="+mn-lt"/>
              </a:rPr>
              <a:t>Training Set </a:t>
            </a:r>
            <a:r>
              <a:rPr lang="en-US" dirty="0">
                <a:latin typeface="+mn-lt"/>
              </a:rPr>
              <a:t>– 90% Confidenc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31DC066-9E16-A589-C36A-9C4C2129659D}"/>
              </a:ext>
            </a:extLst>
          </p:cNvPr>
          <p:cNvSpPr txBox="1"/>
          <p:nvPr/>
        </p:nvSpPr>
        <p:spPr>
          <a:xfrm>
            <a:off x="342897" y="4446370"/>
            <a:ext cx="845582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est Set </a:t>
            </a:r>
            <a:r>
              <a:rPr lang="en-US" dirty="0">
                <a:latin typeface="+mn-lt"/>
                <a:cs typeface="Arial" panose="020B0604020202020204" pitchFamily="34" charset="0"/>
              </a:rPr>
              <a:t>– 90% Confidence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09673221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11E7D01-FC34-4741-9E60-C2DD6A6EA37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3FB26E9-0393-602B-29BC-44A9B0293CD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1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7772400" imgH="10058400" progId="TCLayout.ActiveDocument.1">
                  <p:embed/>
                </p:oleObj>
              </mc:Choice>
              <mc:Fallback>
                <p:oleObj name="think-cell Slide" r:id="rId8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3FB26E9-0393-602B-29BC-44A9B0293C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92" y="1191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5371AF76-B264-C5CE-DF8D-B481729689D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 vert="horz" lIns="0" tIns="34290" rIns="0" bIns="3429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noProof="1"/>
              <a:t>Sensitivity Analysis</a:t>
            </a: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E7C7BADD-02DC-19C8-B047-345345EC9E64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342900" y="255537"/>
            <a:ext cx="8455819" cy="155515"/>
          </a:xfrm>
          <a:prstGeom prst="rect">
            <a:avLst/>
          </a:prstGeom>
        </p:spPr>
        <p:txBody>
          <a:bodyPr vert="horz" lIns="0" tIns="0" rIns="68580" bIns="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825" cap="all" noProof="1">
                <a:solidFill>
                  <a:schemeClr val="accent1"/>
                </a:solidFill>
                <a:latin typeface="Aptos" panose="020B0004020202020204" pitchFamily="34" charset="0"/>
              </a:rPr>
              <a:t>Prototype &amp; RESULTS</a:t>
            </a:r>
          </a:p>
        </p:txBody>
      </p:sp>
      <p:sp>
        <p:nvSpPr>
          <p:cNvPr id="21" name="Google Shape;10527;p9415">
            <a:extLst>
              <a:ext uri="{FF2B5EF4-FFF2-40B4-BE49-F238E27FC236}">
                <a16:creationId xmlns:a16="http://schemas.microsoft.com/office/drawing/2014/main" id="{B5721CD3-DA53-055C-22D4-D879319B7B3C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42897" y="1163859"/>
            <a:ext cx="3290477" cy="30028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68580" tIns="34290" rIns="68580" bIns="34290" anchor="ctr" anchorCtr="0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ts val="1100"/>
            </a:pPr>
            <a:r>
              <a:rPr lang="en-US" sz="1400" noProof="1">
                <a:solidFill>
                  <a:schemeClr val="bg1"/>
                </a:solidFill>
                <a:latin typeface="+mj-lt"/>
              </a:rPr>
              <a:t>Evaluation</a:t>
            </a:r>
          </a:p>
        </p:txBody>
      </p:sp>
      <p:sp>
        <p:nvSpPr>
          <p:cNvPr id="23" name="Google Shape;703;p114">
            <a:extLst>
              <a:ext uri="{FF2B5EF4-FFF2-40B4-BE49-F238E27FC236}">
                <a16:creationId xmlns:a16="http://schemas.microsoft.com/office/drawing/2014/main" id="{3FD96F95-76E7-B504-763D-989865E818AB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342897" y="1798797"/>
            <a:ext cx="3290477" cy="16358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68580" rIns="68580" bIns="34290" anchor="t" anchorCtr="0"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0000"/>
              </a:lnSpc>
              <a:spcAft>
                <a:spcPts val="150"/>
              </a:spcAft>
            </a:pPr>
            <a:r>
              <a:rPr lang="en-US" sz="1200" b="1" dirty="0"/>
              <a:t>Coverage</a:t>
            </a:r>
            <a:r>
              <a:rPr lang="en-US" sz="1200" dirty="0"/>
              <a:t> assessed on the test set across multiple nominal confidence levels.</a:t>
            </a:r>
          </a:p>
          <a:p>
            <a:pPr>
              <a:lnSpc>
                <a:spcPct val="110000"/>
              </a:lnSpc>
              <a:spcAft>
                <a:spcPts val="150"/>
              </a:spcAft>
            </a:pPr>
            <a:endParaRPr lang="en-US" sz="1200" noProof="1"/>
          </a:p>
          <a:p>
            <a:pPr>
              <a:lnSpc>
                <a:spcPct val="110000"/>
              </a:lnSpc>
              <a:spcAft>
                <a:spcPts val="150"/>
              </a:spcAft>
            </a:pPr>
            <a:r>
              <a:rPr lang="en-US" sz="1200" b="1" dirty="0"/>
              <a:t>Hour-resolution</a:t>
            </a:r>
            <a:r>
              <a:rPr lang="en-US" sz="1200" dirty="0"/>
              <a:t> estimates show </a:t>
            </a:r>
            <a:r>
              <a:rPr lang="en-US" sz="1200" b="1" dirty="0"/>
              <a:t>under-reliability</a:t>
            </a:r>
            <a:r>
              <a:rPr lang="en-US" sz="1200" noProof="1"/>
              <a:t>.</a:t>
            </a:r>
          </a:p>
          <a:p>
            <a:pPr>
              <a:lnSpc>
                <a:spcPct val="110000"/>
              </a:lnSpc>
              <a:spcAft>
                <a:spcPts val="150"/>
              </a:spcAft>
            </a:pPr>
            <a:endParaRPr lang="en-US" sz="1200" noProof="1"/>
          </a:p>
          <a:p>
            <a:pPr>
              <a:lnSpc>
                <a:spcPct val="110000"/>
              </a:lnSpc>
              <a:spcAft>
                <a:spcPts val="150"/>
              </a:spcAft>
            </a:pPr>
            <a:r>
              <a:rPr lang="en-US" sz="1200" b="1" dirty="0"/>
              <a:t>Day-resolution</a:t>
            </a:r>
            <a:r>
              <a:rPr lang="en-US" sz="1200" dirty="0"/>
              <a:t> estimates show </a:t>
            </a:r>
            <a:r>
              <a:rPr lang="en-US" sz="1200" b="1" dirty="0"/>
              <a:t>over-reliability</a:t>
            </a:r>
            <a:r>
              <a:rPr lang="en-US" sz="1200" dirty="0"/>
              <a:t> up to a nominal confidence of 0.85</a:t>
            </a:r>
            <a:endParaRPr lang="en-US" sz="1200" noProof="1"/>
          </a:p>
        </p:txBody>
      </p:sp>
      <p:pic>
        <p:nvPicPr>
          <p:cNvPr id="6" name="Picture 5" descr="A graph showing the difference between coverage and confidence&#10;&#10;AI-generated content may be incorrect.">
            <a:extLst>
              <a:ext uri="{FF2B5EF4-FFF2-40B4-BE49-F238E27FC236}">
                <a16:creationId xmlns:a16="http://schemas.microsoft.com/office/drawing/2014/main" id="{569BF9CA-F849-AD2D-763A-D28D64E99A1B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819661" y="921634"/>
            <a:ext cx="4979058" cy="353585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704341272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91C295F-3EFC-91B5-9CD1-BF4E92431F3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066EF799-9988-A2D0-7622-9BB50B89FEA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1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66EF799-9988-A2D0-7622-9BB50B89FE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191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FF500775-1D8F-CDD6-B466-B4B3A331BED5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 vert="horz" lIns="0" tIns="34290" rIns="0" bIns="3429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noProof="1"/>
              <a:t>Evolution of Shipment Estimates (1)</a:t>
            </a: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34FBD1BE-CB57-526F-8F67-F3AFA8932840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342900" y="255537"/>
            <a:ext cx="8455819" cy="155515"/>
          </a:xfrm>
          <a:prstGeom prst="rect">
            <a:avLst/>
          </a:prstGeom>
        </p:spPr>
        <p:txBody>
          <a:bodyPr vert="horz" lIns="0" tIns="0" rIns="68580" bIns="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825" cap="all" noProof="1">
                <a:solidFill>
                  <a:schemeClr val="accent1"/>
                </a:solidFill>
                <a:latin typeface="Aptos" panose="020B0004020202020204" pitchFamily="34" charset="0"/>
              </a:rPr>
              <a:t>Prototype &amp; RESULT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6AD50AC-73EB-D568-5F93-5DECB781B294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/>
          <a:stretch/>
        </p:blipFill>
        <p:spPr>
          <a:xfrm>
            <a:off x="344090" y="1049989"/>
            <a:ext cx="8455820" cy="360651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144789035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6B72C0A-ECE6-2A0B-D1E3-43F7DBCA686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71689BF8-A5E5-4BBD-8CA8-C25CF5EDB91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1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1689BF8-A5E5-4BBD-8CA8-C25CF5EDB9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191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AB81E6E2-CF94-4449-C960-1F9E976FE5FB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 vert="horz" lIns="0" tIns="34290" rIns="0" bIns="3429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noProof="1"/>
              <a:t>Evolution of Shipment Estimates (2)</a:t>
            </a: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2D707445-7EF8-83E6-9AAF-97F53E3D2121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342900" y="255537"/>
            <a:ext cx="8455819" cy="155515"/>
          </a:xfrm>
          <a:prstGeom prst="rect">
            <a:avLst/>
          </a:prstGeom>
        </p:spPr>
        <p:txBody>
          <a:bodyPr vert="horz" lIns="0" tIns="0" rIns="68580" bIns="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825" cap="all" noProof="1">
                <a:solidFill>
                  <a:schemeClr val="accent1"/>
                </a:solidFill>
                <a:latin typeface="Aptos" panose="020B0004020202020204" pitchFamily="34" charset="0"/>
              </a:rPr>
              <a:t>Prototype &amp; RESULT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EBD84D1-3AA3-30A1-EC95-1EFDDDDB47E5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/>
          <a:stretch/>
        </p:blipFill>
        <p:spPr>
          <a:xfrm>
            <a:off x="344091" y="1049989"/>
            <a:ext cx="8455817" cy="360651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92118100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AF93AA0-38A0-70CC-D1AF-1A97C0F3BC4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C6118A7-0E2D-61D2-27C1-47A8B5CCC5C5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344090" y="1074157"/>
            <a:ext cx="7532917" cy="754981"/>
          </a:xfrm>
          <a:prstGeom prst="rect">
            <a:avLst/>
          </a:prstGeom>
          <a:solidFill>
            <a:schemeClr val="bg2"/>
          </a:solidFill>
        </p:spPr>
        <p:txBody>
          <a:bodyPr vert="horz" lIns="68580" tIns="68580" rIns="68580" bIns="68580" rtlCol="0" anchor="ctr"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5000"/>
              </a:lnSpc>
            </a:pPr>
            <a:r>
              <a:rPr lang="en-US" sz="1400" b="1" dirty="0">
                <a:solidFill>
                  <a:srgbClr val="125E4B"/>
                </a:solidFill>
              </a:rPr>
              <a:t>Disruptions</a:t>
            </a:r>
            <a:r>
              <a:rPr lang="en-US" sz="1400" dirty="0">
                <a:solidFill>
                  <a:srgbClr val="125E4B"/>
                </a:solidFill>
              </a:rPr>
              <a:t> are reshaping the manufacturing industry, revealing global </a:t>
            </a:r>
            <a:r>
              <a:rPr lang="en-US" sz="1400" b="1" dirty="0">
                <a:solidFill>
                  <a:srgbClr val="125E4B"/>
                </a:solidFill>
              </a:rPr>
              <a:t>supply</a:t>
            </a:r>
            <a:r>
              <a:rPr lang="en-US" sz="1400" dirty="0">
                <a:solidFill>
                  <a:srgbClr val="125E4B"/>
                </a:solidFill>
              </a:rPr>
              <a:t> </a:t>
            </a:r>
            <a:r>
              <a:rPr lang="en-US" sz="1400" b="1" dirty="0">
                <a:solidFill>
                  <a:srgbClr val="125E4B"/>
                </a:solidFill>
              </a:rPr>
              <a:t>chain</a:t>
            </a:r>
            <a:r>
              <a:rPr lang="en-US" sz="1400" dirty="0">
                <a:solidFill>
                  <a:srgbClr val="125E4B"/>
                </a:solidFill>
              </a:rPr>
              <a:t> vulnerabilities and highlighting the critical need for </a:t>
            </a:r>
            <a:r>
              <a:rPr lang="en-US" sz="1400" b="1" dirty="0">
                <a:solidFill>
                  <a:srgbClr val="125E4B"/>
                </a:solidFill>
              </a:rPr>
              <a:t>resilience</a:t>
            </a:r>
            <a:r>
              <a:rPr lang="en-US" sz="1400" dirty="0">
                <a:solidFill>
                  <a:srgbClr val="125E4B"/>
                </a:solidFill>
              </a:rPr>
              <a:t>.</a:t>
            </a:r>
            <a:endParaRPr lang="en-US" sz="1400" noProof="1">
              <a:solidFill>
                <a:srgbClr val="125E4B"/>
              </a:solidFill>
            </a:endParaRP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6C599331-C01F-DBB0-C92D-E2B90B93BB1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192" y="1191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7772400" imgH="10058400" progId="TCLayout.ActiveDocument.1">
                  <p:embed/>
                </p:oleObj>
              </mc:Choice>
              <mc:Fallback>
                <p:oleObj name="think-cell Slide" r:id="rId10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599331-C01F-DBB0-C92D-E2B90B93BB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2" y="1191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EA6CF387-DC16-1CF2-5ADF-D898271AFBD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344090" y="409323"/>
            <a:ext cx="8455914" cy="370332"/>
          </a:xfrm>
        </p:spPr>
        <p:txBody>
          <a:bodyPr vert="horz" lIns="0" tIns="34290" rIns="0" bIns="34290" rtlCol="0" anchor="ctr"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noProof="1"/>
              <a:t>Background &amp; Context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671C4AEE-3D21-E7E7-8CC7-86E86AD2CA30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344090" y="224806"/>
            <a:ext cx="8455819" cy="218980"/>
          </a:xfrm>
          <a:prstGeom prst="rect">
            <a:avLst/>
          </a:prstGeom>
        </p:spPr>
        <p:txBody>
          <a:bodyPr vert="horz" lIns="0" tIns="0" rIns="68580" bIns="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cap="all" noProof="1">
                <a:solidFill>
                  <a:schemeClr val="accent1"/>
                </a:solidFill>
                <a:latin typeface="Aptos" panose="020B0004020202020204" pitchFamily="34" charset="0"/>
              </a:rPr>
              <a:t>M4ESTRO Project OVERVIEW</a:t>
            </a:r>
          </a:p>
        </p:txBody>
      </p:sp>
      <p:sp>
        <p:nvSpPr>
          <p:cNvPr id="19" name="Google Shape;703;p114">
            <a:extLst>
              <a:ext uri="{FF2B5EF4-FFF2-40B4-BE49-F238E27FC236}">
                <a16:creationId xmlns:a16="http://schemas.microsoft.com/office/drawing/2014/main" id="{FEF75950-A634-3B8C-6DA8-61B651DBBF76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283722" y="2679700"/>
            <a:ext cx="3826826" cy="21345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80" tIns="68580" rIns="68580" bIns="0" anchor="t" anchorCtr="0"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spcAft>
                <a:spcPts val="600"/>
              </a:spcAft>
              <a:buClrTx/>
              <a:buFont typeface="Arial" panose="020B0604020202020204" pitchFamily="34" charset="0"/>
              <a:buChar char="•"/>
            </a:pPr>
            <a:r>
              <a:rPr lang="en-US" sz="1200" b="1" dirty="0"/>
              <a:t>Global</a:t>
            </a:r>
            <a:r>
              <a:rPr lang="en-US" sz="1200" dirty="0"/>
              <a:t> </a:t>
            </a:r>
            <a:r>
              <a:rPr lang="en-US" sz="1200" b="1" dirty="0"/>
              <a:t>disruptions</a:t>
            </a:r>
            <a:r>
              <a:rPr lang="en-US" sz="1200" dirty="0"/>
              <a:t> (pandemics, conflicts, climate events) expose supply chain fragility.</a:t>
            </a:r>
          </a:p>
          <a:p>
            <a:pPr marL="171450" indent="-171450">
              <a:spcAft>
                <a:spcPts val="600"/>
              </a:spcAft>
              <a:buClrTx/>
              <a:buFont typeface="Arial" panose="020B0604020202020204" pitchFamily="34" charset="0"/>
              <a:buChar char="•"/>
            </a:pPr>
            <a:r>
              <a:rPr lang="en-US" sz="1200" dirty="0"/>
              <a:t>Rising </a:t>
            </a:r>
            <a:r>
              <a:rPr lang="en-US" sz="1200" b="1" dirty="0"/>
              <a:t>disruption</a:t>
            </a:r>
            <a:r>
              <a:rPr lang="en-US" sz="1200" dirty="0"/>
              <a:t> </a:t>
            </a:r>
            <a:r>
              <a:rPr lang="en-US" sz="1200" b="1" dirty="0"/>
              <a:t>frequency</a:t>
            </a:r>
            <a:r>
              <a:rPr lang="en-US" sz="1200" dirty="0"/>
              <a:t> and severity create volatile, uncertain, complex, and ambiguous (VUCA) conditions.</a:t>
            </a:r>
            <a:endParaRPr lang="en-US" sz="1200" noProof="1"/>
          </a:p>
          <a:p>
            <a:pPr marL="171450" indent="-171450">
              <a:spcAft>
                <a:spcPts val="600"/>
              </a:spcAft>
              <a:buClrTx/>
              <a:buFont typeface="Arial" panose="020B0604020202020204" pitchFamily="34" charset="0"/>
              <a:buChar char="•"/>
            </a:pPr>
            <a:r>
              <a:rPr lang="en-US" sz="1200" b="1" dirty="0"/>
              <a:t>Resilience</a:t>
            </a:r>
            <a:r>
              <a:rPr lang="en-US" sz="1200" dirty="0"/>
              <a:t> and adaptability are essential for continuity and competitiveness.</a:t>
            </a:r>
            <a:endParaRPr lang="en-US" sz="1200" noProof="1"/>
          </a:p>
        </p:txBody>
      </p:sp>
      <p:sp>
        <p:nvSpPr>
          <p:cNvPr id="20" name="Google Shape;10527;p9415">
            <a:extLst>
              <a:ext uri="{FF2B5EF4-FFF2-40B4-BE49-F238E27FC236}">
                <a16:creationId xmlns:a16="http://schemas.microsoft.com/office/drawing/2014/main" id="{50BCE6A8-F1DB-D0C8-1E58-4754B1322591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344090" y="2283714"/>
            <a:ext cx="3826826" cy="28803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68580" tIns="34290" rIns="68580" bIns="34290" anchor="ctr" anchorCtr="0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ts val="1100"/>
            </a:pPr>
            <a:r>
              <a:rPr lang="en-US" sz="1400" noProof="1">
                <a:solidFill>
                  <a:schemeClr val="bg1"/>
                </a:solidFill>
                <a:latin typeface="+mj-lt"/>
              </a:rPr>
              <a:t>Supply Chain Challenges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D9F66A9C-A5A5-5F67-A90B-3078A0B8688C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899382" y="2283714"/>
            <a:ext cx="2977625" cy="198396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504063912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39F7143-606B-34A8-3D16-6C5E3F313A5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C162635F-FFCE-73D3-2B74-995E4CFE527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1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162635F-FFCE-73D3-2B74-995E4CFE52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191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D5CC3917-E6B1-7AEC-46BC-9218FE00B24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 vert="horz" lIns="0" tIns="34290" rIns="0" bIns="3429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noProof="1"/>
              <a:t>Evolution of Shipment Estimates (3)</a:t>
            </a: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A4AFD825-0906-A571-B75D-22702577DC16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342900" y="255537"/>
            <a:ext cx="8455819" cy="155515"/>
          </a:xfrm>
          <a:prstGeom prst="rect">
            <a:avLst/>
          </a:prstGeom>
        </p:spPr>
        <p:txBody>
          <a:bodyPr vert="horz" lIns="0" tIns="0" rIns="68580" bIns="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825" cap="all" noProof="1">
                <a:solidFill>
                  <a:schemeClr val="accent1"/>
                </a:solidFill>
                <a:latin typeface="Aptos" panose="020B0004020202020204" pitchFamily="34" charset="0"/>
              </a:rPr>
              <a:t>Prototype &amp; RESULT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44004EB-A736-6841-971E-E8B204702A9A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/>
          <a:stretch/>
        </p:blipFill>
        <p:spPr>
          <a:xfrm>
            <a:off x="351220" y="1049989"/>
            <a:ext cx="8441558" cy="360651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049040750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B49A378-AE84-5974-B946-54EE15932E7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5BF12B5-ACBD-440A-5C4C-BF9B3E4059D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1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BF12B5-ACBD-440A-5C4C-BF9B3E4059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191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1CF25C0F-F726-F253-6D0F-CB17BFAF9AA5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 vert="horz" lIns="0" tIns="34290" rIns="0" bIns="3429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noProof="1"/>
              <a:t>Evolution of Shipment Estimates (4)</a:t>
            </a: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90894408-F18A-DADC-4396-FEDBC4A5C346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342900" y="255537"/>
            <a:ext cx="8455819" cy="155515"/>
          </a:xfrm>
          <a:prstGeom prst="rect">
            <a:avLst/>
          </a:prstGeom>
        </p:spPr>
        <p:txBody>
          <a:bodyPr vert="horz" lIns="0" tIns="0" rIns="68580" bIns="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825" cap="all" noProof="1">
                <a:solidFill>
                  <a:schemeClr val="accent1"/>
                </a:solidFill>
                <a:latin typeface="Aptos" panose="020B0004020202020204" pitchFamily="34" charset="0"/>
              </a:rPr>
              <a:t>Prototype &amp; RESULT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1F64FC5-BA6E-EB5B-BF30-A2D122DB6DE2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/>
          <a:stretch/>
        </p:blipFill>
        <p:spPr>
          <a:xfrm>
            <a:off x="351220" y="1049989"/>
            <a:ext cx="8441558" cy="360651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642512921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2347EED-37ED-2585-953B-741352181D3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7D6D881-88FD-F377-B0A8-7140E213552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1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7D6D881-88FD-F377-B0A8-7140E213552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191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DBE45F8C-B7D5-F2FF-6752-23F6A8D511B3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 vert="horz" lIns="0" tIns="34290" rIns="0" bIns="3429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noProof="1"/>
              <a:t>Evolution of Shipment Estimates (5)</a:t>
            </a: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76659667-CD39-B4E0-C8D7-4FE47C902EBE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342900" y="255537"/>
            <a:ext cx="8455819" cy="155515"/>
          </a:xfrm>
          <a:prstGeom prst="rect">
            <a:avLst/>
          </a:prstGeom>
        </p:spPr>
        <p:txBody>
          <a:bodyPr vert="horz" lIns="0" tIns="0" rIns="68580" bIns="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825" cap="all" noProof="1">
                <a:solidFill>
                  <a:schemeClr val="accent1"/>
                </a:solidFill>
                <a:latin typeface="Aptos" panose="020B0004020202020204" pitchFamily="34" charset="0"/>
              </a:rPr>
              <a:t>Prototype &amp; RESULTS</a:t>
            </a:r>
          </a:p>
        </p:txBody>
      </p:sp>
      <p:pic>
        <p:nvPicPr>
          <p:cNvPr id="7" name="Picture 6" descr="A graph of a graph&#10;&#10;AI-generated content may be incorrect.">
            <a:extLst>
              <a:ext uri="{FF2B5EF4-FFF2-40B4-BE49-F238E27FC236}">
                <a16:creationId xmlns:a16="http://schemas.microsoft.com/office/drawing/2014/main" id="{B9AD5982-BB24-055F-9ED4-AB2A8B5B422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44090" y="1046943"/>
            <a:ext cx="8455820" cy="361260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955355820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FF340B8E-4F3B-6EC4-684F-DE25CFE5DAB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1" name="Rectangle 10">
            <a:extLst>
              <a:ext uri="{FF2B5EF4-FFF2-40B4-BE49-F238E27FC236}">
                <a16:creationId xmlns:a16="http://schemas.microsoft.com/office/drawing/2014/main" id="{95C7B71F-C95B-CE88-8BA6-EF91CC5744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144000" cy="51435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C48CE2D-5085-47DB-B640-03F56DB972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-320"/>
            <a:ext cx="9144000" cy="5143499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15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2DB5613-ADF6-71F0-B999-EE66DD3BCC4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341640" y="-1290"/>
            <a:ext cx="8812530" cy="5130513"/>
          </a:xfrm>
          <a:prstGeom prst="rect">
            <a:avLst/>
          </a:prstGeom>
          <a:gradFill>
            <a:gsLst>
              <a:gs pos="21000">
                <a:schemeClr val="accent1">
                  <a:lumMod val="50000"/>
                  <a:alpha val="61000"/>
                </a:schemeClr>
              </a:gs>
              <a:gs pos="100000">
                <a:schemeClr val="accent1">
                  <a:alpha val="0"/>
                </a:schemeClr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B027F13-8D74-1643-FF4C-F18A7454E3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454540" y="-968"/>
            <a:ext cx="2706134" cy="5144147"/>
          </a:xfrm>
          <a:prstGeom prst="rect">
            <a:avLst/>
          </a:prstGeom>
          <a:gradFill>
            <a:gsLst>
              <a:gs pos="0">
                <a:schemeClr val="accent1">
                  <a:lumMod val="75000"/>
                  <a:alpha val="0"/>
                </a:schemeClr>
              </a:gs>
              <a:gs pos="99000">
                <a:srgbClr val="000000">
                  <a:alpha val="41000"/>
                </a:srgb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A3A1B3A8-FACA-78F5-97BD-063CC01C3A0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5274173">
            <a:off x="4544796" y="584453"/>
            <a:ext cx="3725650" cy="3741293"/>
          </a:xfrm>
          <a:prstGeom prst="ellipse">
            <a:avLst/>
          </a:prstGeom>
          <a:gradFill>
            <a:gsLst>
              <a:gs pos="0">
                <a:schemeClr val="accent1">
                  <a:alpha val="24000"/>
                </a:schemeClr>
              </a:gs>
              <a:gs pos="79000">
                <a:schemeClr val="accent1">
                  <a:lumMod val="60000"/>
                  <a:lumOff val="40000"/>
                  <a:alpha val="0"/>
                </a:schemeClr>
              </a:gs>
            </a:gsLst>
            <a:lin ang="14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F972D06-0C49-2507-C9D8-2EDC40BEE8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02664" y="614238"/>
            <a:ext cx="3984667" cy="2451390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r"/>
            <a:r>
              <a:rPr lang="en-US" sz="3600" dirty="0">
                <a:solidFill>
                  <a:srgbClr val="FFFFFF"/>
                </a:solidFill>
              </a:rPr>
              <a:t>Conclusion</a:t>
            </a:r>
            <a:endParaRPr lang="en-US" sz="3600" kern="1200" dirty="0">
              <a:solidFill>
                <a:srgbClr val="FFFFFF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64EF8E9-0473-F282-8D8F-2EA29FDE18A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4735" y="3360028"/>
            <a:ext cx="9134528" cy="1783472"/>
          </a:xfrm>
          <a:prstGeom prst="rect">
            <a:avLst/>
          </a:prstGeom>
          <a:gradFill>
            <a:gsLst>
              <a:gs pos="0">
                <a:schemeClr val="accent1">
                  <a:lumMod val="75000"/>
                  <a:alpha val="50000"/>
                </a:schemeClr>
              </a:gs>
              <a:gs pos="99000">
                <a:srgbClr val="000000">
                  <a:alpha val="34000"/>
                </a:srgbClr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2961A744-E111-BEEC-FF93-06994C30B26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 flipH="1">
            <a:off x="5225314" y="1224495"/>
            <a:ext cx="5143179" cy="2694194"/>
          </a:xfrm>
          <a:prstGeom prst="rect">
            <a:avLst/>
          </a:prstGeom>
          <a:gradFill>
            <a:gsLst>
              <a:gs pos="0">
                <a:schemeClr val="accent1">
                  <a:lumMod val="75000"/>
                  <a:alpha val="50000"/>
                </a:schemeClr>
              </a:gs>
              <a:gs pos="99000">
                <a:srgbClr val="000000">
                  <a:alpha val="0"/>
                </a:srgbClr>
              </a:gs>
            </a:gsLst>
            <a:lin ang="15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5036447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0F6C87A-5983-A301-FB8D-B527FD92502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C47E32BF-FB56-9E6E-62AD-30DAC876805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1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7772400" imgH="10058400" progId="TCLayout.ActiveDocument.1">
                  <p:embed/>
                </p:oleObj>
              </mc:Choice>
              <mc:Fallback>
                <p:oleObj name="think-cell Slide" r:id="rId10" imgW="7772400" imgH="1005840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47E32BF-FB56-9E6E-62AD-30DAC87680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2" y="1191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9350B142-7CE5-7DB9-C28B-673C6F4DAD1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342900" y="411480"/>
            <a:ext cx="8455914" cy="370332"/>
          </a:xfrm>
        </p:spPr>
        <p:txBody>
          <a:bodyPr vert="horz" lIns="0" tIns="34290" rIns="0" bIns="3429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noProof="1"/>
              <a:t>Key Findings</a:t>
            </a: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CC6C055E-6C99-1F62-0359-DDBE8E114B43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342900" y="255537"/>
            <a:ext cx="8455819" cy="155515"/>
          </a:xfrm>
          <a:prstGeom prst="rect">
            <a:avLst/>
          </a:prstGeom>
        </p:spPr>
        <p:txBody>
          <a:bodyPr vert="horz" lIns="0" tIns="0" rIns="68580" bIns="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825" cap="all" noProof="1">
                <a:solidFill>
                  <a:schemeClr val="accent1"/>
                </a:solidFill>
                <a:latin typeface="Aptos" panose="020B0004020202020204" pitchFamily="34" charset="0"/>
              </a:rPr>
              <a:t>conclusion</a:t>
            </a:r>
          </a:p>
        </p:txBody>
      </p:sp>
      <p:sp>
        <p:nvSpPr>
          <p:cNvPr id="9" name="Google Shape;10527;p9415">
            <a:extLst>
              <a:ext uri="{FF2B5EF4-FFF2-40B4-BE49-F238E27FC236}">
                <a16:creationId xmlns:a16="http://schemas.microsoft.com/office/drawing/2014/main" id="{50504B79-3CF8-C140-7413-512096A73108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42899" y="1083603"/>
            <a:ext cx="4441048" cy="30028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68580" tIns="34290" rIns="68580" bIns="34290" anchor="ctr" anchorCtr="0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ts val="1100"/>
            </a:pPr>
            <a:r>
              <a:rPr lang="en-US" altLang="en-US" sz="1400" dirty="0">
                <a:solidFill>
                  <a:schemeClr val="bg1"/>
                </a:solidFill>
                <a:latin typeface="+mj-lt"/>
              </a:rPr>
              <a:t>Real-Time Delay Detection</a:t>
            </a:r>
            <a:endParaRPr lang="en-US" sz="1400" noProof="1">
              <a:solidFill>
                <a:schemeClr val="bg1"/>
              </a:solidFill>
              <a:latin typeface="+mj-lt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6B24794-5920-3CFC-EF96-853D7C364093}"/>
              </a:ext>
            </a:extLst>
          </p:cNvPr>
          <p:cNvSpPr txBox="1"/>
          <p:nvPr/>
        </p:nvSpPr>
        <p:spPr>
          <a:xfrm>
            <a:off x="342899" y="1387405"/>
            <a:ext cx="444104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ClrTx/>
            </a:pPr>
            <a:r>
              <a:rPr lang="en-US" sz="1200" dirty="0">
                <a:latin typeface="+mn-lt"/>
                <a:cs typeface="Arial" panose="020B0604020202020204" pitchFamily="34" charset="0"/>
              </a:rPr>
              <a:t>The system detects </a:t>
            </a:r>
            <a:r>
              <a:rPr lang="en-US" sz="1200" b="1" dirty="0">
                <a:latin typeface="+mn-lt"/>
                <a:cs typeface="Arial" panose="020B0604020202020204" pitchFamily="34" charset="0"/>
              </a:rPr>
              <a:t>disruptions</a:t>
            </a:r>
            <a:r>
              <a:rPr lang="en-US" sz="1200" dirty="0">
                <a:latin typeface="+mn-lt"/>
                <a:cs typeface="Arial" panose="020B0604020202020204" pitchFamily="34" charset="0"/>
              </a:rPr>
              <a:t> in </a:t>
            </a:r>
            <a:r>
              <a:rPr lang="en-US" sz="1200" b="1" dirty="0">
                <a:latin typeface="+mn-lt"/>
                <a:cs typeface="Arial" panose="020B0604020202020204" pitchFamily="34" charset="0"/>
              </a:rPr>
              <a:t>real</a:t>
            </a:r>
            <a:r>
              <a:rPr lang="en-US" sz="1200" dirty="0">
                <a:latin typeface="+mn-lt"/>
                <a:cs typeface="Arial" panose="020B0604020202020204" pitchFamily="34" charset="0"/>
              </a:rPr>
              <a:t> </a:t>
            </a:r>
            <a:r>
              <a:rPr lang="en-US" sz="1200" b="1" dirty="0">
                <a:latin typeface="+mn-lt"/>
                <a:cs typeface="Arial" panose="020B0604020202020204" pitchFamily="34" charset="0"/>
              </a:rPr>
              <a:t>time</a:t>
            </a:r>
            <a:r>
              <a:rPr lang="en-US" sz="1200" dirty="0">
                <a:latin typeface="+mn-lt"/>
                <a:cs typeface="Arial" panose="020B0604020202020204" pitchFamily="34" charset="0"/>
              </a:rPr>
              <a:t> as shipment events are received, fully meeting the project’s core requirements.</a:t>
            </a:r>
            <a:endParaRPr lang="en-US" altLang="en-US" sz="1200" dirty="0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5B465B8-1A1E-F6C2-AFD2-0BA9570DAA4F}"/>
              </a:ext>
            </a:extLst>
          </p:cNvPr>
          <p:cNvSpPr txBox="1"/>
          <p:nvPr/>
        </p:nvSpPr>
        <p:spPr>
          <a:xfrm>
            <a:off x="342899" y="3492945"/>
            <a:ext cx="428864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en-US" sz="1200" b="1" dirty="0">
                <a:solidFill>
                  <a:schemeClr val="tx1"/>
                </a:solidFill>
                <a:latin typeface="+mn-lt"/>
              </a:rPr>
              <a:t>Dispatch</a:t>
            </a:r>
            <a:r>
              <a:rPr lang="en-US" altLang="en-US" sz="1200" dirty="0">
                <a:solidFill>
                  <a:schemeClr val="tx1"/>
                </a:solidFill>
                <a:latin typeface="+mn-lt"/>
              </a:rPr>
              <a:t> stage estimates remain </a:t>
            </a:r>
            <a:r>
              <a:rPr lang="en-US" altLang="en-US" sz="1200" b="1" dirty="0">
                <a:solidFill>
                  <a:schemeClr val="tx1"/>
                </a:solidFill>
                <a:latin typeface="+mn-lt"/>
              </a:rPr>
              <a:t>unreliable</a:t>
            </a:r>
            <a:r>
              <a:rPr lang="en-US" altLang="en-US" sz="1200" dirty="0">
                <a:solidFill>
                  <a:schemeClr val="tx1"/>
                </a:solidFill>
                <a:latin typeface="+mn-lt"/>
              </a:rPr>
              <a:t>; </a:t>
            </a:r>
            <a:r>
              <a:rPr lang="en-US" altLang="en-US" sz="1200" b="1" dirty="0">
                <a:solidFill>
                  <a:schemeClr val="tx1"/>
                </a:solidFill>
                <a:latin typeface="+mn-lt"/>
              </a:rPr>
              <a:t>shipment</a:t>
            </a:r>
            <a:r>
              <a:rPr lang="en-US" altLang="en-US" sz="1200" dirty="0">
                <a:solidFill>
                  <a:schemeClr val="tx1"/>
                </a:solidFill>
                <a:latin typeface="+mn-lt"/>
              </a:rPr>
              <a:t> stage provides </a:t>
            </a:r>
            <a:r>
              <a:rPr lang="en-US" altLang="en-US" sz="1200" b="1" dirty="0">
                <a:solidFill>
                  <a:schemeClr val="tx1"/>
                </a:solidFill>
                <a:latin typeface="+mn-lt"/>
              </a:rPr>
              <a:t>actionable</a:t>
            </a:r>
            <a:r>
              <a:rPr lang="en-US" altLang="en-US" sz="12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altLang="en-US" sz="1200" b="1" dirty="0">
                <a:solidFill>
                  <a:schemeClr val="tx1"/>
                </a:solidFill>
                <a:latin typeface="+mn-lt"/>
              </a:rPr>
              <a:t>insights</a:t>
            </a:r>
            <a:r>
              <a:rPr lang="en-US" altLang="en-US" sz="1200" dirty="0">
                <a:solidFill>
                  <a:schemeClr val="tx1"/>
                </a:solidFill>
                <a:latin typeface="+mn-lt"/>
              </a:rPr>
              <a:t> as uncertainty decreases, even with the limited amount of data available.</a:t>
            </a:r>
          </a:p>
        </p:txBody>
      </p:sp>
      <p:sp>
        <p:nvSpPr>
          <p:cNvPr id="12" name="Google Shape;10527;p9415">
            <a:extLst>
              <a:ext uri="{FF2B5EF4-FFF2-40B4-BE49-F238E27FC236}">
                <a16:creationId xmlns:a16="http://schemas.microsoft.com/office/drawing/2014/main" id="{387EBDE5-BA3B-1317-A51B-A9F4B553B1D4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342899" y="3192664"/>
            <a:ext cx="4441048" cy="30028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68580" tIns="34290" rIns="68580" bIns="34290" anchor="ctr" anchorCtr="0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ts val="1100"/>
            </a:pPr>
            <a:r>
              <a:rPr lang="en-US" altLang="en-US" sz="1400" dirty="0">
                <a:solidFill>
                  <a:schemeClr val="bg1"/>
                </a:solidFill>
                <a:latin typeface="+mj-lt"/>
              </a:rPr>
              <a:t>Operational Stage</a:t>
            </a:r>
            <a:endParaRPr lang="en-US" sz="1400" noProof="1">
              <a:solidFill>
                <a:schemeClr val="bg1"/>
              </a:solidFill>
              <a:latin typeface="+mj-lt"/>
            </a:endParaRP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030A79EC-99DC-475E-23F0-BE20E5E2CA68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5915892" y="1"/>
            <a:ext cx="3228108" cy="5143500"/>
          </a:xfrm>
          <a:prstGeom prst="rect">
            <a:avLst/>
          </a:prstGeom>
          <a:solidFill>
            <a:schemeClr val="bg2"/>
          </a:solidFill>
        </p:spPr>
        <p:txBody>
          <a:bodyPr vert="horz" lIns="342900" tIns="68580" rIns="274320" bIns="68580" rtlCol="0" anchor="ctr">
            <a:normAutofit/>
          </a:bodyPr>
          <a:lstStyle>
            <a:defPPr>
              <a:defRPr lang="en-US"/>
            </a:defPPr>
            <a:lvl1pPr marL="0" indent="0" algn="l" defTabSz="685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indent="0" algn="l" defTabSz="6858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6858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indent="-228600" algn="l" defTabSz="6858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-228600" algn="l" defTabSz="6858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indent="-228600" algn="l" defTabSz="6858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indent="-228600" algn="l" defTabSz="6858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indent="-228600" algn="l" defTabSz="6858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indent="-228600" algn="l" defTabSz="6858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ClrTx/>
            </a:pPr>
            <a:r>
              <a:rPr lang="en-US" sz="1400" dirty="0">
                <a:solidFill>
                  <a:srgbClr val="125E4B"/>
                </a:solidFill>
              </a:rPr>
              <a:t>Overall calibration shows some under-reliability, particularly at higher confidence levels; nevertheless, even with limited data the framework already enables effective disruption detection.</a:t>
            </a:r>
            <a:endParaRPr lang="en-US" altLang="en-US" sz="1400" dirty="0">
              <a:solidFill>
                <a:srgbClr val="125E4B"/>
              </a:solidFill>
            </a:endParaRPr>
          </a:p>
        </p:txBody>
      </p:sp>
      <p:sp>
        <p:nvSpPr>
          <p:cNvPr id="14" name="Google Shape;10527;p9415">
            <a:extLst>
              <a:ext uri="{FF2B5EF4-FFF2-40B4-BE49-F238E27FC236}">
                <a16:creationId xmlns:a16="http://schemas.microsoft.com/office/drawing/2014/main" id="{4462C923-6FA2-272F-6B6B-196C062DE618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342899" y="2136703"/>
            <a:ext cx="4441048" cy="30028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68580" tIns="34290" rIns="68580" bIns="34290" anchor="ctr" anchorCtr="0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ts val="1100"/>
            </a:pPr>
            <a:r>
              <a:rPr lang="en-US" altLang="en-US" sz="1400" dirty="0">
                <a:solidFill>
                  <a:schemeClr val="bg1"/>
                </a:solidFill>
                <a:latin typeface="+mj-lt"/>
              </a:rPr>
              <a:t>Time Resolution Trade-off</a:t>
            </a:r>
            <a:endParaRPr lang="en-US" sz="1400" noProof="1">
              <a:solidFill>
                <a:schemeClr val="bg1"/>
              </a:solidFill>
              <a:latin typeface="+mj-lt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04A9198-7944-C232-84B6-AC4CC8AEC87E}"/>
              </a:ext>
            </a:extLst>
          </p:cNvPr>
          <p:cNvSpPr txBox="1"/>
          <p:nvPr/>
        </p:nvSpPr>
        <p:spPr>
          <a:xfrm>
            <a:off x="342899" y="2436984"/>
            <a:ext cx="444104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ClrTx/>
            </a:pPr>
            <a:r>
              <a:rPr lang="en-US" altLang="en-US" sz="1200" b="1" dirty="0">
                <a:solidFill>
                  <a:schemeClr val="tx1"/>
                </a:solidFill>
                <a:latin typeface="+mn-lt"/>
              </a:rPr>
              <a:t>Hourly</a:t>
            </a:r>
            <a:r>
              <a:rPr lang="en-US" altLang="en-US" sz="1200" dirty="0">
                <a:solidFill>
                  <a:schemeClr val="tx1"/>
                </a:solidFill>
                <a:latin typeface="+mn-lt"/>
              </a:rPr>
              <a:t> estimates offer finer resolution but </a:t>
            </a:r>
            <a:r>
              <a:rPr lang="en-US" altLang="en-US" sz="1200" b="1" dirty="0">
                <a:solidFill>
                  <a:schemeClr val="tx1"/>
                </a:solidFill>
                <a:latin typeface="+mn-lt"/>
              </a:rPr>
              <a:t>lower</a:t>
            </a:r>
            <a:r>
              <a:rPr lang="en-US" altLang="en-US" sz="12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altLang="en-US" sz="1200" b="1" dirty="0">
                <a:solidFill>
                  <a:schemeClr val="tx1"/>
                </a:solidFill>
                <a:latin typeface="+mn-lt"/>
              </a:rPr>
              <a:t>reliability</a:t>
            </a:r>
            <a:r>
              <a:rPr lang="en-US" altLang="en-US" sz="1200" dirty="0">
                <a:solidFill>
                  <a:schemeClr val="tx1"/>
                </a:solidFill>
                <a:latin typeface="+mn-lt"/>
              </a:rPr>
              <a:t>; </a:t>
            </a:r>
            <a:r>
              <a:rPr lang="en-US" altLang="en-US" sz="1200" b="1" dirty="0">
                <a:solidFill>
                  <a:schemeClr val="tx1"/>
                </a:solidFill>
                <a:latin typeface="+mn-lt"/>
              </a:rPr>
              <a:t>daily</a:t>
            </a:r>
            <a:r>
              <a:rPr lang="en-US" altLang="en-US" sz="1200" dirty="0">
                <a:solidFill>
                  <a:schemeClr val="tx1"/>
                </a:solidFill>
                <a:latin typeface="+mn-lt"/>
              </a:rPr>
              <a:t> estimates are </a:t>
            </a:r>
            <a:r>
              <a:rPr lang="en-US" altLang="en-US" sz="1200" b="1" dirty="0">
                <a:solidFill>
                  <a:schemeClr val="tx1"/>
                </a:solidFill>
                <a:latin typeface="+mn-lt"/>
              </a:rPr>
              <a:t>better</a:t>
            </a:r>
            <a:r>
              <a:rPr lang="en-US" altLang="en-US" sz="12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altLang="en-US" sz="1200" b="1" dirty="0">
                <a:solidFill>
                  <a:schemeClr val="tx1"/>
                </a:solidFill>
                <a:latin typeface="+mn-lt"/>
              </a:rPr>
              <a:t>calibrated</a:t>
            </a:r>
            <a:r>
              <a:rPr lang="en-US" altLang="en-US" sz="1200" dirty="0">
                <a:solidFill>
                  <a:schemeClr val="tx1"/>
                </a:solidFill>
                <a:latin typeface="+mn-lt"/>
              </a:rPr>
              <a:t> for practical use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9415078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311061E-0A36-AF68-D649-7EF2E7A3592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69209419-1C1C-F25B-B14B-B3CE84BDCA4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1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7772400" imgH="10058400" progId="TCLayout.ActiveDocument.1">
                  <p:embed/>
                </p:oleObj>
              </mc:Choice>
              <mc:Fallback>
                <p:oleObj name="think-cell Slide" r:id="rId10" imgW="7772400" imgH="1005840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9209419-1C1C-F25B-B14B-B3CE84BDCA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2" y="1191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7DB16428-270F-F2F0-81D5-1B7CEA169FC2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342900" y="411480"/>
            <a:ext cx="8455914" cy="370332"/>
          </a:xfrm>
        </p:spPr>
        <p:txBody>
          <a:bodyPr vert="horz" lIns="0" tIns="34290" rIns="0" bIns="3429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noProof="1"/>
              <a:t>Future Developments</a:t>
            </a: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888DD68A-EC68-5989-A825-FB2202890DD6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342900" y="255537"/>
            <a:ext cx="8455819" cy="155515"/>
          </a:xfrm>
          <a:prstGeom prst="rect">
            <a:avLst/>
          </a:prstGeom>
        </p:spPr>
        <p:txBody>
          <a:bodyPr vert="horz" lIns="0" tIns="0" rIns="68580" bIns="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825" cap="all" noProof="1">
                <a:solidFill>
                  <a:schemeClr val="accent1"/>
                </a:solidFill>
                <a:latin typeface="Aptos" panose="020B0004020202020204" pitchFamily="34" charset="0"/>
              </a:rPr>
              <a:t>conclusion</a:t>
            </a:r>
          </a:p>
        </p:txBody>
      </p:sp>
      <p:sp>
        <p:nvSpPr>
          <p:cNvPr id="9" name="Google Shape;10527;p9415">
            <a:extLst>
              <a:ext uri="{FF2B5EF4-FFF2-40B4-BE49-F238E27FC236}">
                <a16:creationId xmlns:a16="http://schemas.microsoft.com/office/drawing/2014/main" id="{FED43921-0D92-B24B-ACD0-C602B78AE93C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42899" y="1083603"/>
            <a:ext cx="4441048" cy="30028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68580" tIns="34290" rIns="68580" bIns="34290" anchor="ctr" anchorCtr="0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ts val="1100"/>
            </a:pPr>
            <a:r>
              <a:rPr lang="en-US" altLang="en-US" sz="1400" dirty="0">
                <a:solidFill>
                  <a:schemeClr val="bg1"/>
                </a:solidFill>
                <a:latin typeface="+mj-lt"/>
              </a:rPr>
              <a:t>Data Expansion</a:t>
            </a:r>
            <a:endParaRPr lang="en-US" sz="1400" noProof="1">
              <a:solidFill>
                <a:schemeClr val="bg1"/>
              </a:solidFill>
              <a:latin typeface="+mj-lt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20C8DA2-D96F-A7E0-00E6-550064277A86}"/>
              </a:ext>
            </a:extLst>
          </p:cNvPr>
          <p:cNvSpPr txBox="1"/>
          <p:nvPr/>
        </p:nvSpPr>
        <p:spPr>
          <a:xfrm>
            <a:off x="342899" y="1387405"/>
            <a:ext cx="444104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ClrTx/>
            </a:pPr>
            <a:r>
              <a:rPr lang="en-US" sz="1200" b="1" dirty="0">
                <a:latin typeface="+mn-lt"/>
              </a:rPr>
              <a:t>Expand</a:t>
            </a:r>
            <a:r>
              <a:rPr lang="en-US" sz="1200" dirty="0">
                <a:latin typeface="+mn-lt"/>
              </a:rPr>
              <a:t> the </a:t>
            </a:r>
            <a:r>
              <a:rPr lang="en-US" sz="1200" b="1" dirty="0">
                <a:latin typeface="+mn-lt"/>
              </a:rPr>
              <a:t>dataset</a:t>
            </a:r>
            <a:r>
              <a:rPr lang="en-US" sz="1200" dirty="0">
                <a:latin typeface="+mn-lt"/>
              </a:rPr>
              <a:t> and refine all data-driven components, such as probability distributions, to </a:t>
            </a:r>
            <a:r>
              <a:rPr lang="en-US" sz="1200" b="1" dirty="0">
                <a:latin typeface="+mn-lt"/>
              </a:rPr>
              <a:t>improve</a:t>
            </a:r>
            <a:r>
              <a:rPr lang="en-US" sz="1200" dirty="0">
                <a:latin typeface="+mn-lt"/>
              </a:rPr>
              <a:t> </a:t>
            </a:r>
            <a:r>
              <a:rPr lang="en-US" sz="1200" b="1" dirty="0">
                <a:latin typeface="+mn-lt"/>
              </a:rPr>
              <a:t>calibration</a:t>
            </a:r>
            <a:r>
              <a:rPr lang="en-US" sz="1200" dirty="0">
                <a:latin typeface="+mn-lt"/>
              </a:rPr>
              <a:t>, enhance indicators, and </a:t>
            </a:r>
            <a:r>
              <a:rPr lang="en-US" sz="1200" b="1" dirty="0">
                <a:latin typeface="+mn-lt"/>
              </a:rPr>
              <a:t>increase</a:t>
            </a:r>
            <a:r>
              <a:rPr lang="en-US" sz="1200" dirty="0">
                <a:latin typeface="+mn-lt"/>
              </a:rPr>
              <a:t> the </a:t>
            </a:r>
            <a:r>
              <a:rPr lang="en-US" sz="1200" b="1" dirty="0">
                <a:latin typeface="+mn-lt"/>
              </a:rPr>
              <a:t>reliability</a:t>
            </a:r>
            <a:r>
              <a:rPr lang="en-US" sz="1200" dirty="0">
                <a:latin typeface="+mn-lt"/>
              </a:rPr>
              <a:t> of predictions.</a:t>
            </a:r>
            <a:endParaRPr lang="en-US" altLang="en-US" sz="12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1FE4029-C68B-E67B-9714-7B0F2A73FBAC}"/>
              </a:ext>
            </a:extLst>
          </p:cNvPr>
          <p:cNvSpPr txBox="1"/>
          <p:nvPr/>
        </p:nvSpPr>
        <p:spPr>
          <a:xfrm>
            <a:off x="342899" y="3829064"/>
            <a:ext cx="428864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ClrTx/>
            </a:pPr>
            <a:r>
              <a:rPr lang="en-US" altLang="en-US" sz="1200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Extend framework to support </a:t>
            </a:r>
            <a:r>
              <a:rPr lang="en-US" altLang="en-US" sz="1200" b="1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multiple</a:t>
            </a:r>
            <a:r>
              <a:rPr lang="en-US" altLang="en-US" sz="1200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en-US" altLang="en-US" sz="1200" b="1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manufacturers</a:t>
            </a:r>
            <a:r>
              <a:rPr lang="en-US" altLang="en-US" sz="1200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and more complex operational contexts.</a:t>
            </a:r>
          </a:p>
        </p:txBody>
      </p:sp>
      <p:sp>
        <p:nvSpPr>
          <p:cNvPr id="12" name="Google Shape;10527;p9415">
            <a:extLst>
              <a:ext uri="{FF2B5EF4-FFF2-40B4-BE49-F238E27FC236}">
                <a16:creationId xmlns:a16="http://schemas.microsoft.com/office/drawing/2014/main" id="{1E2E6BDE-BA93-E7BB-FF3D-FC4E28157A0B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342899" y="3528783"/>
            <a:ext cx="4441048" cy="30028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68580" tIns="34290" rIns="68580" bIns="34290" anchor="ctr" anchorCtr="0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ts val="1100"/>
            </a:pPr>
            <a:r>
              <a:rPr lang="en-US" altLang="en-US" sz="1400" dirty="0">
                <a:solidFill>
                  <a:schemeClr val="bg1"/>
                </a:solidFill>
                <a:latin typeface="+mj-lt"/>
              </a:rPr>
              <a:t>Multi-Manufacturer Extension</a:t>
            </a:r>
            <a:endParaRPr lang="en-US" sz="1400" noProof="1">
              <a:solidFill>
                <a:schemeClr val="bg1"/>
              </a:solidFill>
              <a:latin typeface="+mj-lt"/>
            </a:endParaRP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1BC562EF-8E43-7AF4-B5BA-AB751D9ECAF9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5915892" y="1"/>
            <a:ext cx="3228108" cy="5143500"/>
          </a:xfrm>
          <a:prstGeom prst="rect">
            <a:avLst/>
          </a:prstGeom>
          <a:solidFill>
            <a:schemeClr val="bg2"/>
          </a:solidFill>
        </p:spPr>
        <p:txBody>
          <a:bodyPr vert="horz" lIns="342900" tIns="68580" rIns="274320" bIns="68580" rtlCol="0" anchor="ctr">
            <a:normAutofit/>
          </a:bodyPr>
          <a:lstStyle>
            <a:defPPr>
              <a:defRPr lang="en-US"/>
            </a:defPPr>
            <a:lvl1pPr marL="0" indent="0" algn="l" defTabSz="685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indent="0" algn="l" defTabSz="6858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6858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indent="-228600" algn="l" defTabSz="6858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-228600" algn="l" defTabSz="6858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indent="-228600" algn="l" defTabSz="6858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indent="-228600" algn="l" defTabSz="6858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indent="-228600" algn="l" defTabSz="6858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indent="-228600" algn="l" defTabSz="6858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ClrTx/>
            </a:pPr>
            <a:r>
              <a:rPr lang="en-US" sz="1400" dirty="0">
                <a:solidFill>
                  <a:srgbClr val="125E4B"/>
                </a:solidFill>
              </a:rPr>
              <a:t>Future development should focus on acquiring more data to improve calibration and support the implantation of more sophisticated, formally defined solutions for specific indicators.</a:t>
            </a:r>
            <a:endParaRPr lang="en-US" altLang="en-US" sz="1400" dirty="0">
              <a:solidFill>
                <a:srgbClr val="125E4B"/>
              </a:solidFill>
            </a:endParaRPr>
          </a:p>
        </p:txBody>
      </p:sp>
      <p:sp>
        <p:nvSpPr>
          <p:cNvPr id="14" name="Google Shape;10527;p9415">
            <a:extLst>
              <a:ext uri="{FF2B5EF4-FFF2-40B4-BE49-F238E27FC236}">
                <a16:creationId xmlns:a16="http://schemas.microsoft.com/office/drawing/2014/main" id="{5E852576-BFB6-CF35-9737-ACDA80B0ED9B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342899" y="2334017"/>
            <a:ext cx="4441048" cy="30028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68580" tIns="34290" rIns="68580" bIns="34290" anchor="ctr" anchorCtr="0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ts val="1100"/>
            </a:pPr>
            <a:r>
              <a:rPr lang="en-US" altLang="en-US" sz="1400" dirty="0">
                <a:solidFill>
                  <a:schemeClr val="bg1"/>
                </a:solidFill>
                <a:latin typeface="+mj-lt"/>
              </a:rPr>
              <a:t>Refinement of Indicators Implementation</a:t>
            </a:r>
            <a:endParaRPr lang="en-US" sz="1400" noProof="1">
              <a:solidFill>
                <a:schemeClr val="bg1"/>
              </a:solidFill>
              <a:latin typeface="+mj-lt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48C9369-D904-39A5-5C08-C395E2DF01DB}"/>
              </a:ext>
            </a:extLst>
          </p:cNvPr>
          <p:cNvSpPr txBox="1"/>
          <p:nvPr/>
        </p:nvSpPr>
        <p:spPr>
          <a:xfrm>
            <a:off x="342899" y="2634298"/>
            <a:ext cx="444104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ClrTx/>
            </a:pPr>
            <a:r>
              <a:rPr lang="en-US" altLang="en-US" sz="1200" b="1" dirty="0">
                <a:solidFill>
                  <a:schemeClr val="tx1"/>
                </a:solidFill>
                <a:latin typeface="+mn-lt"/>
              </a:rPr>
              <a:t>Implement</a:t>
            </a:r>
            <a:r>
              <a:rPr lang="en-US" altLang="en-US" sz="1200" dirty="0">
                <a:solidFill>
                  <a:schemeClr val="tx1"/>
                </a:solidFill>
                <a:latin typeface="+mn-lt"/>
              </a:rPr>
              <a:t> and validate more advanced </a:t>
            </a:r>
            <a:r>
              <a:rPr lang="en-US" altLang="en-US" sz="1200" b="1" dirty="0">
                <a:solidFill>
                  <a:schemeClr val="tx1"/>
                </a:solidFill>
                <a:latin typeface="+mn-lt"/>
              </a:rPr>
              <a:t>solutions</a:t>
            </a:r>
            <a:r>
              <a:rPr lang="en-US" altLang="en-US" sz="1200" dirty="0">
                <a:solidFill>
                  <a:schemeClr val="tx1"/>
                </a:solidFill>
                <a:latin typeface="+mn-lt"/>
              </a:rPr>
              <a:t> for specific </a:t>
            </a:r>
            <a:r>
              <a:rPr lang="en-US" altLang="en-US" sz="1200" b="1" dirty="0">
                <a:solidFill>
                  <a:schemeClr val="tx1"/>
                </a:solidFill>
                <a:latin typeface="+mn-lt"/>
              </a:rPr>
              <a:t>indicators</a:t>
            </a:r>
            <a:r>
              <a:rPr lang="en-US" altLang="en-US" sz="1200" dirty="0">
                <a:solidFill>
                  <a:schemeClr val="tx1"/>
                </a:solidFill>
                <a:latin typeface="+mn-lt"/>
              </a:rPr>
              <a:t>, in particular </a:t>
            </a:r>
            <a:r>
              <a:rPr lang="en-US" altLang="en-US" sz="1200" b="1" dirty="0">
                <a:solidFill>
                  <a:schemeClr val="tx1"/>
                </a:solidFill>
                <a:latin typeface="+mn-lt"/>
              </a:rPr>
              <a:t>DRT</a:t>
            </a:r>
            <a:r>
              <a:rPr lang="en-US" altLang="en-US" sz="1200" dirty="0">
                <a:solidFill>
                  <a:schemeClr val="tx1"/>
                </a:solidFill>
                <a:latin typeface="+mn-lt"/>
              </a:rPr>
              <a:t> (e.g., Bayesian methods, quantile regression)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69029525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EB0C8153-69C7-32BB-73F9-B93CD93E0B9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2900" y="945475"/>
            <a:ext cx="8455914" cy="3252549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1200" dirty="0"/>
              <a:t>L. R. Ford and D. R. Fulkerson, “Maximal flow through a network,” Canadian Journal of Mathematics, vol. 8, no. 3, pp. 399–404, 1956.</a:t>
            </a:r>
          </a:p>
          <a:p>
            <a:pPr marL="0" indent="0">
              <a:buNone/>
            </a:pPr>
            <a:r>
              <a:rPr lang="en-US" sz="1200" dirty="0"/>
              <a:t>J. R. Norris, Markov Chains. Cambridge University Press, 1998.</a:t>
            </a:r>
          </a:p>
          <a:p>
            <a:pPr marL="0" indent="0">
              <a:buNone/>
            </a:pPr>
            <a:r>
              <a:rPr lang="en-US" sz="1200" dirty="0"/>
              <a:t>G. Grimmett and D. </a:t>
            </a:r>
            <a:r>
              <a:rPr lang="en-US" sz="1200" dirty="0" err="1"/>
              <a:t>Stirzaker</a:t>
            </a:r>
            <a:r>
              <a:rPr lang="en-US" sz="1200" dirty="0"/>
              <a:t>, Probability and Random Processes, 3rd.Oxford University Press, 2001.</a:t>
            </a:r>
          </a:p>
          <a:p>
            <a:pPr marL="0" indent="0">
              <a:buNone/>
            </a:pPr>
            <a:r>
              <a:rPr lang="en-US" sz="1200" dirty="0"/>
              <a:t>A. V. Hill, J. M. Hays, and E. Naveh, “A model for optimal delivery time guarantees,” Journal of service research, vol. 2, no. 3, pp. 254–264, 2000</a:t>
            </a:r>
          </a:p>
          <a:p>
            <a:pPr marL="0" indent="0">
              <a:buNone/>
            </a:pPr>
            <a:r>
              <a:rPr lang="en-US" sz="1200" dirty="0"/>
              <a:t>T. Gneiting and A. E. Raftery, “Strictly proper scoring rules, prediction and estimation,” Journal of the American Statistical Association, vol. 102,no. 477, pp. 359–378, 2007.</a:t>
            </a:r>
          </a:p>
          <a:p>
            <a:pPr marL="0" indent="0">
              <a:buNone/>
            </a:pPr>
            <a:r>
              <a:rPr lang="en-US" sz="1200" dirty="0"/>
              <a:t>Y. Huang, A. Bárdossy, and K. Zhang, “Sensitivity of hydrological models to temporal and spatial resolutions of rainfall data,” Hydrology and Earth System Sciences, vol. 23, no. 6, pp. 2647–2663, 2019.</a:t>
            </a:r>
          </a:p>
          <a:p>
            <a:pPr marL="0" indent="0">
              <a:buNone/>
            </a:pPr>
            <a:endParaRPr lang="en-US" sz="110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88D6EC1-BF1D-A621-322A-05DFF5C4A2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it-IT" dirty="0" err="1"/>
              <a:t>References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6AF5DCA-B37B-E87A-6B29-7F5A9DF08E2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it-IT" sz="1000" dirty="0"/>
              <a:t>CONCLUSION</a:t>
            </a:r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189432982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78D20F8-01B5-8601-7EA1-441B7488804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image_0">
            <a:extLst>
              <a:ext uri="{FF2B5EF4-FFF2-40B4-BE49-F238E27FC236}">
                <a16:creationId xmlns:a16="http://schemas.microsoft.com/office/drawing/2014/main" id="{02BD6798-C009-035D-DD87-0895FF74E2B0}"/>
              </a:ext>
            </a:extLst>
          </p:cNvPr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 rotWithShape="1"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329" r="5329" b="1611"/>
          <a:stretch>
            <a:fillRect/>
          </a:stretch>
        </p:blipFill>
        <p:spPr bwMode="auto">
          <a:xfrm>
            <a:off x="350643" y="944274"/>
            <a:ext cx="2731590" cy="20054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D4BAEC4-C50E-BB16-93B3-0233B9FFC35B}"/>
              </a:ext>
            </a:extLst>
          </p:cNvPr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 rotWithShape="1"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329" r="5329" b="1611"/>
          <a:stretch>
            <a:fillRect/>
          </a:stretch>
        </p:blipFill>
        <p:spPr bwMode="auto">
          <a:xfrm>
            <a:off x="3204272" y="936586"/>
            <a:ext cx="2731590" cy="20054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A6647FBA-B0F8-FE96-AE53-04418085CCB8}"/>
              </a:ext>
            </a:extLst>
          </p:cNvPr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 rotWithShape="1"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329" r="5329" b="1611"/>
          <a:stretch>
            <a:fillRect/>
          </a:stretch>
        </p:blipFill>
        <p:spPr bwMode="auto">
          <a:xfrm>
            <a:off x="6054034" y="936586"/>
            <a:ext cx="2731590" cy="20054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Google Shape;10527;p9415">
            <a:extLst>
              <a:ext uri="{FF2B5EF4-FFF2-40B4-BE49-F238E27FC236}">
                <a16:creationId xmlns:a16="http://schemas.microsoft.com/office/drawing/2014/main" id="{C4E41784-6F31-DED8-FAB6-07274B153BC7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39033" y="3032471"/>
            <a:ext cx="2743200" cy="28803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02870" tIns="34290" rIns="34290" bIns="34290" anchor="ctr" anchorCtr="0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noProof="1">
                <a:solidFill>
                  <a:schemeClr val="bg1"/>
                </a:solidFill>
                <a:latin typeface="+mj-lt"/>
              </a:rPr>
              <a:t>Project Goals</a:t>
            </a:r>
          </a:p>
        </p:txBody>
      </p:sp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485A3AD2-E830-A23C-87BB-530CACBEFBF3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192" y="1191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7772400" imgH="10058400" progId="TCLayout.ActiveDocument.1">
                  <p:embed/>
                </p:oleObj>
              </mc:Choice>
              <mc:Fallback>
                <p:oleObj name="think-cell Slide" r:id="rId18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5A3AD2-E830-A23C-87BB-530CACBEFB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192" y="1191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D613EDF1-15DF-0CC8-7879-E5C99223A67B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/>
        <p:txBody>
          <a:bodyPr vert="horz" lIns="0" tIns="34290" rIns="0" bIns="3429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noProof="1"/>
              <a:t>M4ESTRO – A </a:t>
            </a:r>
            <a:r>
              <a:rPr lang="en-US" sz="2000" dirty="0"/>
              <a:t>Horizon Europe </a:t>
            </a:r>
            <a:r>
              <a:rPr lang="en-US" sz="2000" noProof="1"/>
              <a:t>Project</a:t>
            </a:r>
          </a:p>
        </p:txBody>
      </p:sp>
      <p:sp>
        <p:nvSpPr>
          <p:cNvPr id="7" name="Google Shape;703;p114">
            <a:extLst>
              <a:ext uri="{FF2B5EF4-FFF2-40B4-BE49-F238E27FC236}">
                <a16:creationId xmlns:a16="http://schemas.microsoft.com/office/drawing/2014/main" id="{1D9FCB23-1FCE-003A-06B4-AA5012C7E6C6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342899" y="3320507"/>
            <a:ext cx="2743200" cy="12880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80" tIns="34290" rIns="68580" bIns="34290" anchor="t" anchorCtr="0"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0000"/>
              </a:lnSpc>
              <a:spcAft>
                <a:spcPts val="150"/>
              </a:spcAft>
            </a:pPr>
            <a:r>
              <a:rPr lang="en-US" sz="1200" noProof="1"/>
              <a:t>Develop a resilient, transparent, and adaptive ecosystem under the </a:t>
            </a:r>
            <a:r>
              <a:rPr lang="en-US" sz="1200" b="1" noProof="1"/>
              <a:t>Manufacturing-as-a-Service (MaaS)</a:t>
            </a:r>
            <a:r>
              <a:rPr lang="en-US" sz="1200" noProof="1"/>
              <a:t> paradigm, enhancing supply chain flexibility and robustness.</a:t>
            </a:r>
          </a:p>
        </p:txBody>
      </p:sp>
      <p:sp>
        <p:nvSpPr>
          <p:cNvPr id="17" name="Google Shape;703;p114">
            <a:extLst>
              <a:ext uri="{FF2B5EF4-FFF2-40B4-BE49-F238E27FC236}">
                <a16:creationId xmlns:a16="http://schemas.microsoft.com/office/drawing/2014/main" id="{CF5F5780-C876-6523-73BF-049CED256C14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3208139" y="3320507"/>
            <a:ext cx="2743200" cy="12880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80" tIns="34290" rIns="68580" bIns="34290" anchor="t" anchorCtr="0"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0000"/>
              </a:lnSpc>
              <a:spcAft>
                <a:spcPts val="150"/>
              </a:spcAft>
            </a:pPr>
            <a:r>
              <a:rPr lang="en-US" sz="1200" noProof="1"/>
              <a:t>Consortium of </a:t>
            </a:r>
            <a:r>
              <a:rPr lang="en-US" sz="1200" b="1" noProof="1"/>
              <a:t>18 partners</a:t>
            </a:r>
            <a:r>
              <a:rPr lang="en-US" sz="1200" noProof="1"/>
              <a:t> from 8 countries, including industrial pilots, technology providers, and research institutions, collaborating over </a:t>
            </a:r>
            <a:r>
              <a:rPr lang="en-US" sz="1200" b="1" noProof="1"/>
              <a:t>42 months</a:t>
            </a:r>
            <a:r>
              <a:rPr lang="en-US" sz="1200" noProof="1"/>
              <a:t>.</a:t>
            </a:r>
          </a:p>
        </p:txBody>
      </p:sp>
      <p:sp>
        <p:nvSpPr>
          <p:cNvPr id="19" name="Google Shape;703;p114">
            <a:extLst>
              <a:ext uri="{FF2B5EF4-FFF2-40B4-BE49-F238E27FC236}">
                <a16:creationId xmlns:a16="http://schemas.microsoft.com/office/drawing/2014/main" id="{A7098CB5-D7E7-6FDC-0931-7A35A30313F6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6070600" y="3320507"/>
            <a:ext cx="2743200" cy="12261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80" tIns="34290" rIns="68580" bIns="34290" anchor="t" anchorCtr="0"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0000"/>
              </a:lnSpc>
              <a:spcAft>
                <a:spcPts val="150"/>
              </a:spcAft>
            </a:pPr>
            <a:r>
              <a:rPr lang="en-US" sz="1200" b="1" noProof="1"/>
              <a:t>Four</a:t>
            </a:r>
            <a:r>
              <a:rPr lang="en-US" sz="1200" noProof="1"/>
              <a:t> </a:t>
            </a:r>
            <a:r>
              <a:rPr lang="en-US" sz="1200" b="1" noProof="1"/>
              <a:t>pillars</a:t>
            </a:r>
            <a:r>
              <a:rPr lang="en-US" sz="1200" noProof="1"/>
              <a:t> support </a:t>
            </a:r>
            <a:r>
              <a:rPr lang="en-US" sz="1200" b="1" noProof="1"/>
              <a:t>M4ESTRO</a:t>
            </a:r>
            <a:r>
              <a:rPr lang="en-US" sz="1200" noProof="1"/>
              <a:t>: resilient manufacturing processes, AI-enabled adaptive equipment, industrial metaverse simulations and human-centered sustainability and resilience.</a:t>
            </a: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65A321FE-7906-40C5-F581-DE2C3A79877C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>
          <a:xfrm>
            <a:off x="342900" y="255537"/>
            <a:ext cx="8455819" cy="155515"/>
          </a:xfrm>
          <a:prstGeom prst="rect">
            <a:avLst/>
          </a:prstGeom>
        </p:spPr>
        <p:txBody>
          <a:bodyPr vert="horz" lIns="0" tIns="0" rIns="68580" bIns="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000" cap="all" noProof="1">
                <a:solidFill>
                  <a:schemeClr val="accent1"/>
                </a:solidFill>
                <a:latin typeface="Aptos" panose="020B0004020202020204" pitchFamily="34" charset="0"/>
              </a:rPr>
              <a:t>M4ESTRO Project OVERVIEW</a:t>
            </a:r>
          </a:p>
        </p:txBody>
      </p:sp>
      <p:sp>
        <p:nvSpPr>
          <p:cNvPr id="4" name="Google Shape;10527;p9415">
            <a:extLst>
              <a:ext uri="{FF2B5EF4-FFF2-40B4-BE49-F238E27FC236}">
                <a16:creationId xmlns:a16="http://schemas.microsoft.com/office/drawing/2014/main" id="{B4F2FC57-87D1-D31C-0D40-E36C7B80396E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3208139" y="3032471"/>
            <a:ext cx="2743200" cy="28803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02870" tIns="34290" rIns="34290" bIns="34290" anchor="ctr" anchorCtr="0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noProof="1">
                <a:solidFill>
                  <a:schemeClr val="bg1"/>
                </a:solidFill>
                <a:latin typeface="+mj-lt"/>
              </a:rPr>
              <a:t>Consortium and Scope</a:t>
            </a:r>
          </a:p>
        </p:txBody>
      </p:sp>
      <p:sp>
        <p:nvSpPr>
          <p:cNvPr id="8" name="Google Shape;10527;p9415">
            <a:extLst>
              <a:ext uri="{FF2B5EF4-FFF2-40B4-BE49-F238E27FC236}">
                <a16:creationId xmlns:a16="http://schemas.microsoft.com/office/drawing/2014/main" id="{62D09EAD-8577-4296-5B57-67C093530892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6054034" y="3032471"/>
            <a:ext cx="2743200" cy="28803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02870" tIns="34290" rIns="34290" bIns="34290" anchor="ctr" anchorCtr="0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noProof="1">
                <a:solidFill>
                  <a:schemeClr val="bg1"/>
                </a:solidFill>
                <a:latin typeface="+mj-lt"/>
              </a:rPr>
              <a:t>Strategic Pillar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1375470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12F252E-B8A8-CBB2-BCEE-7A4EB314763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8BBC862-44E0-450F-97C2-A0022FA64CBB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344090" y="1074157"/>
            <a:ext cx="8054736" cy="754981"/>
          </a:xfrm>
          <a:prstGeom prst="rect">
            <a:avLst/>
          </a:prstGeom>
          <a:solidFill>
            <a:schemeClr val="bg2"/>
          </a:solidFill>
        </p:spPr>
        <p:txBody>
          <a:bodyPr vert="horz" lIns="68580" tIns="68580" rIns="68580" bIns="68580" rtlCol="0" anchor="ctr"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0000"/>
              </a:lnSpc>
              <a:buClrTx/>
            </a:pPr>
            <a:r>
              <a:rPr lang="en-US" sz="1400" b="1" noProof="1">
                <a:solidFill>
                  <a:srgbClr val="125E4B"/>
                </a:solidFill>
              </a:rPr>
              <a:t>M4ESTRO </a:t>
            </a:r>
            <a:r>
              <a:rPr lang="en-US" sz="1400" noProof="1">
                <a:solidFill>
                  <a:srgbClr val="125E4B"/>
                </a:solidFill>
              </a:rPr>
              <a:t>- Industrial </a:t>
            </a:r>
            <a:r>
              <a:rPr lang="en-US" sz="1400" b="1" noProof="1">
                <a:solidFill>
                  <a:srgbClr val="125E4B"/>
                </a:solidFill>
              </a:rPr>
              <a:t>M</a:t>
            </a:r>
            <a:r>
              <a:rPr lang="en-US" sz="1400" noProof="1">
                <a:solidFill>
                  <a:srgbClr val="125E4B"/>
                </a:solidFill>
              </a:rPr>
              <a:t>anufacturing </a:t>
            </a:r>
            <a:r>
              <a:rPr lang="en-US" sz="1400" b="1" noProof="1">
                <a:solidFill>
                  <a:srgbClr val="125E4B"/>
                </a:solidFill>
              </a:rPr>
              <a:t>A</a:t>
            </a:r>
            <a:r>
              <a:rPr lang="en-US" sz="1400" noProof="1">
                <a:solidFill>
                  <a:srgbClr val="125E4B"/>
                </a:solidFill>
              </a:rPr>
              <a:t>s a s</a:t>
            </a:r>
            <a:r>
              <a:rPr lang="en-US" sz="1400" b="1" noProof="1">
                <a:solidFill>
                  <a:srgbClr val="125E4B"/>
                </a:solidFill>
              </a:rPr>
              <a:t>E</a:t>
            </a:r>
            <a:r>
              <a:rPr lang="en-US" sz="1400" noProof="1">
                <a:solidFill>
                  <a:srgbClr val="125E4B"/>
                </a:solidFill>
              </a:rPr>
              <a:t>rvice </a:t>
            </a:r>
            <a:r>
              <a:rPr lang="en-US" sz="1400" b="1" noProof="1">
                <a:solidFill>
                  <a:srgbClr val="125E4B"/>
                </a:solidFill>
              </a:rPr>
              <a:t>STR</a:t>
            </a:r>
            <a:r>
              <a:rPr lang="en-US" sz="1400" noProof="1">
                <a:solidFill>
                  <a:srgbClr val="125E4B"/>
                </a:solidFill>
              </a:rPr>
              <a:t>ategies and models for flexible, resilient, and re-configurable value networks through Trusted and Transparent </a:t>
            </a:r>
            <a:r>
              <a:rPr lang="en-US" sz="1400" b="1" noProof="1">
                <a:solidFill>
                  <a:srgbClr val="125E4B"/>
                </a:solidFill>
              </a:rPr>
              <a:t>O</a:t>
            </a:r>
            <a:r>
              <a:rPr lang="en-US" sz="1400" noProof="1">
                <a:solidFill>
                  <a:srgbClr val="125E4B"/>
                </a:solidFill>
              </a:rPr>
              <a:t>perations 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9FA70D54-793F-BAE0-0264-E121201229FA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192" y="1191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7772400" imgH="10058400" progId="TCLayout.ActiveDocument.1">
                  <p:embed/>
                </p:oleObj>
              </mc:Choice>
              <mc:Fallback>
                <p:oleObj name="think-cell Slide" r:id="rId12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FA70D54-793F-BAE0-0264-E121201229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192" y="1191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5001709D-A6FA-5B1B-1F83-01121FE0975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344090" y="409323"/>
            <a:ext cx="8455914" cy="370332"/>
          </a:xfrm>
        </p:spPr>
        <p:txBody>
          <a:bodyPr vert="horz" lIns="0" tIns="34290" rIns="0" bIns="34290" rtlCol="0" anchor="ctr"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noProof="1"/>
              <a:t>Research Motivation &amp; Purpose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A394D4F8-7D33-0AF5-B470-5F94B8FFD1E9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344090" y="224806"/>
            <a:ext cx="8455819" cy="218980"/>
          </a:xfrm>
          <a:prstGeom prst="rect">
            <a:avLst/>
          </a:prstGeom>
        </p:spPr>
        <p:txBody>
          <a:bodyPr vert="horz" lIns="0" tIns="0" rIns="68580" bIns="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cap="all" noProof="1">
                <a:solidFill>
                  <a:schemeClr val="accent1"/>
                </a:solidFill>
                <a:latin typeface="Aptos" panose="020B0004020202020204" pitchFamily="34" charset="0"/>
              </a:rPr>
              <a:t>M4ESTRO Project OVERVIEW</a:t>
            </a:r>
          </a:p>
        </p:txBody>
      </p:sp>
      <p:sp>
        <p:nvSpPr>
          <p:cNvPr id="19" name="Google Shape;703;p114">
            <a:extLst>
              <a:ext uri="{FF2B5EF4-FFF2-40B4-BE49-F238E27FC236}">
                <a16:creationId xmlns:a16="http://schemas.microsoft.com/office/drawing/2014/main" id="{D7A388C2-5178-F8F6-FC2E-4B2696FA935F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283722" y="2407943"/>
            <a:ext cx="3826826" cy="24062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80" tIns="68580" rIns="68580" bIns="0" anchor="t" anchorCtr="0"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spcAft>
                <a:spcPts val="600"/>
              </a:spcAft>
              <a:buClrTx/>
              <a:buFont typeface="Arial" panose="020B0604020202020204" pitchFamily="34" charset="0"/>
              <a:buChar char="•"/>
            </a:pPr>
            <a:r>
              <a:rPr lang="en-US" sz="1200" b="1" dirty="0"/>
              <a:t>Global</a:t>
            </a:r>
            <a:r>
              <a:rPr lang="en-US" sz="1200" dirty="0"/>
              <a:t> </a:t>
            </a:r>
            <a:r>
              <a:rPr lang="en-US" sz="1200" b="1" dirty="0"/>
              <a:t>disruptions</a:t>
            </a:r>
            <a:r>
              <a:rPr lang="en-US" sz="1200" dirty="0"/>
              <a:t> (pandemics, conflicts, climate events) expose supply chain fragility.</a:t>
            </a:r>
          </a:p>
          <a:p>
            <a:pPr marL="171450" indent="-171450">
              <a:spcAft>
                <a:spcPts val="600"/>
              </a:spcAft>
              <a:buClrTx/>
              <a:buFont typeface="Arial" panose="020B0604020202020204" pitchFamily="34" charset="0"/>
              <a:buChar char="•"/>
            </a:pPr>
            <a:r>
              <a:rPr lang="en-US" sz="1200" dirty="0"/>
              <a:t>Rising </a:t>
            </a:r>
            <a:r>
              <a:rPr lang="en-US" sz="1200" b="1" dirty="0"/>
              <a:t>disruption</a:t>
            </a:r>
            <a:r>
              <a:rPr lang="en-US" sz="1200" dirty="0"/>
              <a:t> </a:t>
            </a:r>
            <a:r>
              <a:rPr lang="en-US" sz="1200" b="1" dirty="0"/>
              <a:t>frequency</a:t>
            </a:r>
            <a:r>
              <a:rPr lang="en-US" sz="1200" dirty="0"/>
              <a:t> and severity create volatile, uncertain, complex, and ambiguous (VUCA) conditions.</a:t>
            </a:r>
            <a:endParaRPr lang="en-US" sz="1200" noProof="1"/>
          </a:p>
          <a:p>
            <a:pPr marL="171450" indent="-171450">
              <a:spcAft>
                <a:spcPts val="600"/>
              </a:spcAft>
              <a:buClrTx/>
              <a:buFont typeface="Arial" panose="020B0604020202020204" pitchFamily="34" charset="0"/>
              <a:buChar char="•"/>
            </a:pPr>
            <a:r>
              <a:rPr lang="en-US" sz="1200" b="1" dirty="0"/>
              <a:t>Resilience</a:t>
            </a:r>
            <a:r>
              <a:rPr lang="en-US" sz="1200" dirty="0"/>
              <a:t> and adaptability are essential for continuity and competitiveness.</a:t>
            </a:r>
            <a:endParaRPr lang="en-US" sz="1200" noProof="1"/>
          </a:p>
        </p:txBody>
      </p:sp>
      <p:sp>
        <p:nvSpPr>
          <p:cNvPr id="20" name="Google Shape;10527;p9415">
            <a:extLst>
              <a:ext uri="{FF2B5EF4-FFF2-40B4-BE49-F238E27FC236}">
                <a16:creationId xmlns:a16="http://schemas.microsoft.com/office/drawing/2014/main" id="{05B34B5C-F3DC-ABEA-D028-F144CEDF9F75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344090" y="2085377"/>
            <a:ext cx="3826826" cy="28803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68580" tIns="34290" rIns="68580" bIns="34290" anchor="ctr" anchorCtr="0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ts val="1100"/>
            </a:pPr>
            <a:r>
              <a:rPr lang="en-US" sz="1400" noProof="1">
                <a:solidFill>
                  <a:schemeClr val="bg1"/>
                </a:solidFill>
                <a:latin typeface="+mj-lt"/>
              </a:rPr>
              <a:t>Motivation</a:t>
            </a:r>
          </a:p>
        </p:txBody>
      </p:sp>
      <p:sp>
        <p:nvSpPr>
          <p:cNvPr id="2" name="Google Shape;703;p114">
            <a:extLst>
              <a:ext uri="{FF2B5EF4-FFF2-40B4-BE49-F238E27FC236}">
                <a16:creationId xmlns:a16="http://schemas.microsoft.com/office/drawing/2014/main" id="{162CE001-7526-BD8A-1807-B416758A4299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4511632" y="2407943"/>
            <a:ext cx="3826826" cy="24062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80" tIns="68580" rIns="68580" bIns="0" anchor="t" anchorCtr="0"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  <a:buClrTx/>
            </a:pPr>
            <a:r>
              <a:rPr lang="en-US" sz="1200" b="1" dirty="0"/>
              <a:t>M4ESTRO</a:t>
            </a:r>
            <a:r>
              <a:rPr lang="en-US" sz="1200" dirty="0"/>
              <a:t> introduces the concept of </a:t>
            </a:r>
            <a:r>
              <a:rPr lang="en-US" sz="1200" b="1" dirty="0"/>
              <a:t>disruption indicator</a:t>
            </a:r>
            <a:r>
              <a:rPr lang="en-US" sz="1200" dirty="0"/>
              <a:t>:</a:t>
            </a:r>
          </a:p>
          <a:p>
            <a:pPr marL="171450" indent="-171450">
              <a:spcAft>
                <a:spcPts val="600"/>
              </a:spcAft>
              <a:buClrTx/>
              <a:buFont typeface="Arial" panose="020B0604020202020204" pitchFamily="34" charset="0"/>
              <a:buChar char="•"/>
            </a:pPr>
            <a:r>
              <a:rPr lang="en-US" sz="1200" b="1" dirty="0"/>
              <a:t>Monitor</a:t>
            </a:r>
            <a:r>
              <a:rPr lang="en-US" sz="1200" dirty="0"/>
              <a:t> the operational </a:t>
            </a:r>
            <a:r>
              <a:rPr lang="en-US" sz="1200" b="1" dirty="0"/>
              <a:t>dynamics</a:t>
            </a:r>
            <a:r>
              <a:rPr lang="en-US" sz="1200" dirty="0"/>
              <a:t> of the supply chain.</a:t>
            </a:r>
          </a:p>
          <a:p>
            <a:pPr marL="171450" indent="-171450">
              <a:spcAft>
                <a:spcPts val="600"/>
              </a:spcAft>
              <a:buClrTx/>
              <a:buFont typeface="Arial" panose="020B0604020202020204" pitchFamily="34" charset="0"/>
              <a:buChar char="•"/>
            </a:pPr>
            <a:r>
              <a:rPr lang="en-US" sz="1200" b="1" dirty="0"/>
              <a:t>Detect</a:t>
            </a:r>
            <a:r>
              <a:rPr lang="en-US" sz="1200" dirty="0"/>
              <a:t> </a:t>
            </a:r>
            <a:r>
              <a:rPr lang="en-US" sz="1200" b="1" dirty="0"/>
              <a:t>anomalies</a:t>
            </a:r>
            <a:r>
              <a:rPr lang="en-US" sz="1200" dirty="0"/>
              <a:t> in real time across logistics systems.</a:t>
            </a:r>
          </a:p>
          <a:p>
            <a:pPr marL="171450" indent="-171450">
              <a:spcAft>
                <a:spcPts val="600"/>
              </a:spcAft>
              <a:buClrTx/>
              <a:buFont typeface="Arial" panose="020B0604020202020204" pitchFamily="34" charset="0"/>
              <a:buChar char="•"/>
            </a:pPr>
            <a:r>
              <a:rPr lang="en-US" sz="1200" b="1" dirty="0"/>
              <a:t>Quantify</a:t>
            </a:r>
            <a:r>
              <a:rPr lang="en-US" sz="1200" dirty="0"/>
              <a:t> the impact of </a:t>
            </a:r>
            <a:r>
              <a:rPr lang="en-US" sz="1200" b="1" dirty="0"/>
              <a:t>disruptions</a:t>
            </a:r>
            <a:r>
              <a:rPr lang="en-US" sz="1200" dirty="0"/>
              <a:t> using interpretable data-driven metrics.</a:t>
            </a:r>
          </a:p>
          <a:p>
            <a:pPr marL="171450" indent="-171450">
              <a:spcAft>
                <a:spcPts val="600"/>
              </a:spcAft>
              <a:buClrTx/>
              <a:buFont typeface="Arial" panose="020B0604020202020204" pitchFamily="34" charset="0"/>
              <a:buChar char="•"/>
            </a:pPr>
            <a:r>
              <a:rPr lang="en-US" sz="1200" b="1" dirty="0"/>
              <a:t>Enable</a:t>
            </a:r>
            <a:r>
              <a:rPr lang="en-US" sz="1200" dirty="0"/>
              <a:t> timely </a:t>
            </a:r>
            <a:r>
              <a:rPr lang="en-US" sz="1200" b="1" dirty="0"/>
              <a:t>responses</a:t>
            </a:r>
            <a:r>
              <a:rPr lang="en-US" sz="1200" dirty="0"/>
              <a:t> through integration with decision-support tools.</a:t>
            </a:r>
          </a:p>
        </p:txBody>
      </p:sp>
      <p:sp>
        <p:nvSpPr>
          <p:cNvPr id="4" name="Google Shape;10527;p9415">
            <a:extLst>
              <a:ext uri="{FF2B5EF4-FFF2-40B4-BE49-F238E27FC236}">
                <a16:creationId xmlns:a16="http://schemas.microsoft.com/office/drawing/2014/main" id="{6B49AAC5-0255-7ABF-7631-679664723177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4572000" y="2085377"/>
            <a:ext cx="3826826" cy="28803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68580" tIns="34290" rIns="68580" bIns="34290" anchor="ctr" anchorCtr="0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ts val="1100"/>
            </a:pPr>
            <a:r>
              <a:rPr lang="en-US" sz="1400" noProof="1">
                <a:solidFill>
                  <a:schemeClr val="bg1"/>
                </a:solidFill>
                <a:latin typeface="+mj-lt"/>
              </a:rPr>
              <a:t>Purpos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1840998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AFDAD76-15D9-0E05-1ABA-D176EF01302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89316493-2178-0345-7340-2CBF154BEC3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1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7772400" imgH="10058400" progId="TCLayout.ActiveDocument.1">
                  <p:embed/>
                </p:oleObj>
              </mc:Choice>
              <mc:Fallback>
                <p:oleObj name="think-cell Slide" r:id="rId13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9316493-2178-0345-7340-2CBF154BEC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192" y="1191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0ADF42A8-4AC3-0777-36D0-47F7222ECC15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 vert="horz" lIns="0" tIns="34290" rIns="0" bIns="3429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noProof="1"/>
              <a:t>Key Contributions</a:t>
            </a:r>
          </a:p>
        </p:txBody>
      </p:sp>
      <p:sp>
        <p:nvSpPr>
          <p:cNvPr id="13" name="Google Shape;703;p114">
            <a:extLst>
              <a:ext uri="{FF2B5EF4-FFF2-40B4-BE49-F238E27FC236}">
                <a16:creationId xmlns:a16="http://schemas.microsoft.com/office/drawing/2014/main" id="{A94A066C-B47A-7B9A-8034-FADB936DC50C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578428" y="1218874"/>
            <a:ext cx="4914899" cy="5103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80" tIns="34290" rIns="68580" bIns="0" anchor="t" anchorCtr="0"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300"/>
              </a:spcAft>
            </a:pPr>
            <a:r>
              <a:rPr lang="en-US" sz="1200" b="1" noProof="1"/>
              <a:t>Mathematical</a:t>
            </a:r>
            <a:r>
              <a:rPr lang="en-US" sz="1200" noProof="1"/>
              <a:t> </a:t>
            </a:r>
            <a:r>
              <a:rPr lang="en-US" sz="1200" b="1" noProof="1"/>
              <a:t>framework</a:t>
            </a:r>
            <a:r>
              <a:rPr lang="en-US" sz="1200" noProof="1"/>
              <a:t> for modeling a single-manufacturer </a:t>
            </a:r>
            <a:r>
              <a:rPr lang="en-US" sz="1200" b="1" noProof="1"/>
              <a:t>supply</a:t>
            </a:r>
            <a:r>
              <a:rPr lang="en-US" sz="1200" noProof="1"/>
              <a:t> </a:t>
            </a:r>
            <a:r>
              <a:rPr lang="en-US" sz="1200" b="1" noProof="1"/>
              <a:t>chain</a:t>
            </a:r>
            <a:r>
              <a:rPr lang="en-US" sz="1200" noProof="1"/>
              <a:t>.</a:t>
            </a:r>
          </a:p>
        </p:txBody>
      </p:sp>
      <p:sp>
        <p:nvSpPr>
          <p:cNvPr id="15" name="Google Shape;10527;p9415">
            <a:extLst>
              <a:ext uri="{FF2B5EF4-FFF2-40B4-BE49-F238E27FC236}">
                <a16:creationId xmlns:a16="http://schemas.microsoft.com/office/drawing/2014/main" id="{693632BC-4005-CFD3-C43F-3FAD34C0AADB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560702" y="880711"/>
            <a:ext cx="3397828" cy="3088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34290" rIns="68580" bIns="34290" anchor="t" anchorCtr="0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noProof="1"/>
              <a:t>Supply chain modeling</a:t>
            </a:r>
          </a:p>
        </p:txBody>
      </p:sp>
      <p:sp>
        <p:nvSpPr>
          <p:cNvPr id="17" name="Google Shape;703;p114">
            <a:extLst>
              <a:ext uri="{FF2B5EF4-FFF2-40B4-BE49-F238E27FC236}">
                <a16:creationId xmlns:a16="http://schemas.microsoft.com/office/drawing/2014/main" id="{AE993CA0-4428-F18A-5DAE-E74B63296869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78427" y="2288302"/>
            <a:ext cx="4859482" cy="95728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80" tIns="34290" rIns="68580" bIns="0" anchor="t" anchorCtr="0"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300"/>
              </a:spcAft>
            </a:pPr>
            <a:r>
              <a:rPr lang="en-US" sz="1200" noProof="1"/>
              <a:t>Logistics Chain Disruption Indicators (LCDIs) to quantify:</a:t>
            </a:r>
          </a:p>
          <a:p>
            <a:pPr marL="171450" indent="-171450">
              <a:lnSpc>
                <a:spcPct val="9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b="1" noProof="1"/>
              <a:t>Dispatch</a:t>
            </a:r>
            <a:r>
              <a:rPr lang="en-US" sz="1200" noProof="1"/>
              <a:t> and </a:t>
            </a:r>
            <a:r>
              <a:rPr lang="en-US" sz="1200" b="1" noProof="1"/>
              <a:t>shipment process</a:t>
            </a:r>
            <a:r>
              <a:rPr lang="en-US" sz="1200" noProof="1"/>
              <a:t> </a:t>
            </a:r>
            <a:r>
              <a:rPr lang="en-US" sz="1200" b="1" noProof="1"/>
              <a:t>durations</a:t>
            </a:r>
            <a:r>
              <a:rPr lang="en-US" sz="1200" noProof="1"/>
              <a:t>.</a:t>
            </a:r>
          </a:p>
          <a:p>
            <a:pPr marL="171450" indent="-171450">
              <a:lnSpc>
                <a:spcPct val="9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b="1" dirty="0"/>
              <a:t>Real-time</a:t>
            </a:r>
            <a:r>
              <a:rPr lang="en-US" sz="1200" dirty="0"/>
              <a:t> </a:t>
            </a:r>
            <a:r>
              <a:rPr lang="en-US" sz="1200" b="1" dirty="0"/>
              <a:t>traffic</a:t>
            </a:r>
            <a:r>
              <a:rPr lang="en-US" sz="1200" dirty="0"/>
              <a:t> and </a:t>
            </a:r>
            <a:r>
              <a:rPr lang="en-US" sz="1200" b="1" dirty="0"/>
              <a:t>weather</a:t>
            </a:r>
            <a:r>
              <a:rPr lang="en-US" sz="1200" dirty="0"/>
              <a:t> impacts on shipments</a:t>
            </a:r>
            <a:r>
              <a:rPr lang="en-US" sz="1200" noProof="1"/>
              <a:t>.</a:t>
            </a:r>
          </a:p>
          <a:p>
            <a:pPr marL="171450" indent="-171450">
              <a:lnSpc>
                <a:spcPct val="9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dirty="0"/>
              <a:t>Effect of </a:t>
            </a:r>
            <a:r>
              <a:rPr lang="en-US" sz="1200" b="1" dirty="0"/>
              <a:t>national</a:t>
            </a:r>
            <a:r>
              <a:rPr lang="en-US" sz="1200" dirty="0"/>
              <a:t> </a:t>
            </a:r>
            <a:r>
              <a:rPr lang="en-US" sz="1200" b="1" dirty="0"/>
              <a:t>holidays</a:t>
            </a:r>
            <a:r>
              <a:rPr lang="en-US" sz="1200" dirty="0"/>
              <a:t> on dispatch processes</a:t>
            </a:r>
            <a:r>
              <a:rPr lang="en-US" sz="1200" noProof="1"/>
              <a:t>. </a:t>
            </a:r>
          </a:p>
        </p:txBody>
      </p:sp>
      <p:sp>
        <p:nvSpPr>
          <p:cNvPr id="18" name="Google Shape;10527;p9415">
            <a:extLst>
              <a:ext uri="{FF2B5EF4-FFF2-40B4-BE49-F238E27FC236}">
                <a16:creationId xmlns:a16="http://schemas.microsoft.com/office/drawing/2014/main" id="{8EA97614-7370-1A5F-1E27-7DF23EBD16D8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578427" y="1849525"/>
            <a:ext cx="3397827" cy="3312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34290" rIns="68580" bIns="34290" anchor="t" anchorCtr="0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noProof="1"/>
              <a:t>Indicators Design and Implementation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89BD4955-54C8-E77B-B9C2-4ED8A16423F6}"/>
              </a:ext>
            </a:extLst>
          </p:cNvPr>
          <p:cNvCxnSpPr>
            <a:cxnSpLocks/>
          </p:cNvCxnSpPr>
          <p:nvPr/>
        </p:nvCxnSpPr>
        <p:spPr>
          <a:xfrm flipV="1">
            <a:off x="509155" y="1729254"/>
            <a:ext cx="5282047" cy="12728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63704EC4-7729-1A09-EA04-B29C752AEDF8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342900" y="255537"/>
            <a:ext cx="8455819" cy="155515"/>
          </a:xfrm>
          <a:prstGeom prst="rect">
            <a:avLst/>
          </a:prstGeom>
        </p:spPr>
        <p:txBody>
          <a:bodyPr vert="horz" lIns="0" tIns="0" rIns="68580" bIns="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cap="all" noProof="1">
                <a:solidFill>
                  <a:schemeClr val="accent1"/>
                </a:solidFill>
                <a:latin typeface="Aptos" panose="020B0004020202020204" pitchFamily="34" charset="0"/>
              </a:rPr>
              <a:t>M4ESTRO Project OVERVIEW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76123185-6003-6136-FD0F-8894AA7C0AFE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>
          <a:xfrm>
            <a:off x="6057900" y="0"/>
            <a:ext cx="3086099" cy="5143500"/>
          </a:xfrm>
          <a:prstGeom prst="rect">
            <a:avLst/>
          </a:prstGeom>
          <a:solidFill>
            <a:schemeClr val="bg2"/>
          </a:solidFill>
        </p:spPr>
        <p:txBody>
          <a:bodyPr vert="horz" lIns="342900" tIns="68580" rIns="274320" bIns="68580" rtlCol="0" anchor="ctr"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0000"/>
              </a:lnSpc>
            </a:pPr>
            <a:r>
              <a:rPr lang="en-US" sz="1400" dirty="0">
                <a:solidFill>
                  <a:srgbClr val="125E4B"/>
                </a:solidFill>
              </a:rPr>
              <a:t>This work addresses Task 1.2, focusing on the design of </a:t>
            </a:r>
            <a:r>
              <a:rPr lang="en-US" sz="1400" b="1" dirty="0">
                <a:solidFill>
                  <a:srgbClr val="125E4B"/>
                </a:solidFill>
              </a:rPr>
              <a:t>Logistics Chain Disruption Indicators (LCDIs)</a:t>
            </a:r>
            <a:r>
              <a:rPr lang="en-US" sz="1400" dirty="0">
                <a:solidFill>
                  <a:srgbClr val="125E4B"/>
                </a:solidFill>
              </a:rPr>
              <a:t> for detecting </a:t>
            </a:r>
            <a:r>
              <a:rPr lang="en-US" sz="1400" b="1" i="1" dirty="0">
                <a:solidFill>
                  <a:srgbClr val="125E4B"/>
                </a:solidFill>
              </a:rPr>
              <a:t>internal</a:t>
            </a:r>
            <a:r>
              <a:rPr lang="en-US" sz="1400" dirty="0">
                <a:solidFill>
                  <a:srgbClr val="125E4B"/>
                </a:solidFill>
              </a:rPr>
              <a:t> </a:t>
            </a:r>
            <a:r>
              <a:rPr lang="en-US" sz="1400" b="1" i="1" dirty="0">
                <a:solidFill>
                  <a:srgbClr val="125E4B"/>
                </a:solidFill>
              </a:rPr>
              <a:t>disruptions</a:t>
            </a:r>
            <a:r>
              <a:rPr lang="en-US" sz="1400" dirty="0">
                <a:solidFill>
                  <a:srgbClr val="125E4B"/>
                </a:solidFill>
              </a:rPr>
              <a:t>. </a:t>
            </a:r>
          </a:p>
          <a:p>
            <a:pPr>
              <a:lnSpc>
                <a:spcPct val="110000"/>
              </a:lnSpc>
            </a:pPr>
            <a:endParaRPr lang="en-US" sz="1400" dirty="0">
              <a:solidFill>
                <a:srgbClr val="125E4B"/>
              </a:solidFill>
            </a:endParaRPr>
          </a:p>
          <a:p>
            <a:pPr>
              <a:lnSpc>
                <a:spcPct val="110000"/>
              </a:lnSpc>
            </a:pPr>
            <a:endParaRPr lang="en-US" sz="1400" dirty="0">
              <a:solidFill>
                <a:srgbClr val="125E4B"/>
              </a:solidFill>
            </a:endParaRPr>
          </a:p>
          <a:p>
            <a:pPr>
              <a:lnSpc>
                <a:spcPct val="110000"/>
              </a:lnSpc>
            </a:pPr>
            <a:r>
              <a:rPr lang="en-US" sz="1400" dirty="0">
                <a:solidFill>
                  <a:srgbClr val="125E4B"/>
                </a:solidFill>
              </a:rPr>
              <a:t>It concentrates on a subset of LCDIs aimed at </a:t>
            </a:r>
            <a:r>
              <a:rPr lang="en-US" sz="1400" b="1" dirty="0">
                <a:solidFill>
                  <a:srgbClr val="125E4B"/>
                </a:solidFill>
              </a:rPr>
              <a:t>estimating delivery times</a:t>
            </a:r>
            <a:r>
              <a:rPr lang="en-US" sz="1400" dirty="0">
                <a:solidFill>
                  <a:srgbClr val="125E4B"/>
                </a:solidFill>
              </a:rPr>
              <a:t> and </a:t>
            </a:r>
            <a:r>
              <a:rPr lang="en-US" sz="1400" b="1" dirty="0">
                <a:solidFill>
                  <a:srgbClr val="125E4B"/>
                </a:solidFill>
              </a:rPr>
              <a:t>delays</a:t>
            </a:r>
            <a:r>
              <a:rPr lang="en-US" sz="1400" dirty="0">
                <a:solidFill>
                  <a:srgbClr val="125E4B"/>
                </a:solidFill>
              </a:rPr>
              <a:t> within a </a:t>
            </a:r>
            <a:r>
              <a:rPr lang="en-US" sz="1400" b="1" dirty="0">
                <a:solidFill>
                  <a:srgbClr val="125E4B"/>
                </a:solidFill>
              </a:rPr>
              <a:t>single-manufacturer supply chain</a:t>
            </a:r>
            <a:r>
              <a:rPr lang="en-US" sz="1400" dirty="0">
                <a:solidFill>
                  <a:srgbClr val="125E4B"/>
                </a:solidFill>
              </a:rPr>
              <a:t>.</a:t>
            </a:r>
            <a:endParaRPr lang="en-US" sz="1400" noProof="1">
              <a:solidFill>
                <a:srgbClr val="125E4B"/>
              </a:solidFill>
            </a:endParaRPr>
          </a:p>
        </p:txBody>
      </p:sp>
      <p:sp>
        <p:nvSpPr>
          <p:cNvPr id="4" name="Google Shape;703;p114">
            <a:extLst>
              <a:ext uri="{FF2B5EF4-FFF2-40B4-BE49-F238E27FC236}">
                <a16:creationId xmlns:a16="http://schemas.microsoft.com/office/drawing/2014/main" id="{29D769E2-91C4-772B-AB37-79FB7310F514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604710" y="3957923"/>
            <a:ext cx="4833199" cy="6807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80" tIns="34290" rIns="68580" bIns="0" anchor="t" anchorCtr="0"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300"/>
              </a:spcAft>
            </a:pPr>
            <a:r>
              <a:rPr lang="en-US" sz="1200" b="1" dirty="0"/>
              <a:t>Prototype</a:t>
            </a:r>
            <a:r>
              <a:rPr lang="en-US" sz="1200" dirty="0"/>
              <a:t> using pilot partner data </a:t>
            </a:r>
            <a:r>
              <a:rPr lang="en-US" sz="1200" b="1" dirty="0"/>
              <a:t>deployed</a:t>
            </a:r>
            <a:r>
              <a:rPr lang="en-US" sz="1200" dirty="0"/>
              <a:t> on AWS cloud infrastructure.</a:t>
            </a:r>
            <a:endParaRPr lang="en-US" sz="1200" noProof="1"/>
          </a:p>
        </p:txBody>
      </p:sp>
      <p:sp>
        <p:nvSpPr>
          <p:cNvPr id="6" name="Google Shape;10527;p9415">
            <a:extLst>
              <a:ext uri="{FF2B5EF4-FFF2-40B4-BE49-F238E27FC236}">
                <a16:creationId xmlns:a16="http://schemas.microsoft.com/office/drawing/2014/main" id="{3601B229-86A0-3EAB-ADCD-3C8FA1A0829A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578426" y="3595845"/>
            <a:ext cx="3397827" cy="3620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34290" rIns="68580" bIns="34290" anchor="t" anchorCtr="0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noProof="1"/>
              <a:t>Prototype development and deployment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65E44ED-59CB-F060-5B03-E0A41F3C1F1B}"/>
              </a:ext>
            </a:extLst>
          </p:cNvPr>
          <p:cNvCxnSpPr>
            <a:cxnSpLocks/>
          </p:cNvCxnSpPr>
          <p:nvPr/>
        </p:nvCxnSpPr>
        <p:spPr>
          <a:xfrm>
            <a:off x="578427" y="3451264"/>
            <a:ext cx="521277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58146598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28CB973C-83B9-F491-7B96-2D8E187A9E2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1" name="Rectangle 10">
            <a:extLst>
              <a:ext uri="{FF2B5EF4-FFF2-40B4-BE49-F238E27FC236}">
                <a16:creationId xmlns:a16="http://schemas.microsoft.com/office/drawing/2014/main" id="{C3C76896-6A9C-B58E-4E38-6957E8E32E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144000" cy="51435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BD200BC-6D69-6A91-F437-2CD9517715A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-320"/>
            <a:ext cx="9144000" cy="5143499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15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3EC4A72-5FF1-19CD-2009-578E3C9274F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341640" y="-1290"/>
            <a:ext cx="8812530" cy="5130513"/>
          </a:xfrm>
          <a:prstGeom prst="rect">
            <a:avLst/>
          </a:prstGeom>
          <a:gradFill>
            <a:gsLst>
              <a:gs pos="21000">
                <a:schemeClr val="accent1">
                  <a:lumMod val="50000"/>
                  <a:alpha val="61000"/>
                </a:schemeClr>
              </a:gs>
              <a:gs pos="100000">
                <a:schemeClr val="accent1">
                  <a:alpha val="0"/>
                </a:schemeClr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CAFEF3F-238F-A009-19EB-2E1FE47A21D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454540" y="-968"/>
            <a:ext cx="2706134" cy="5144147"/>
          </a:xfrm>
          <a:prstGeom prst="rect">
            <a:avLst/>
          </a:prstGeom>
          <a:gradFill>
            <a:gsLst>
              <a:gs pos="0">
                <a:schemeClr val="accent1">
                  <a:lumMod val="75000"/>
                  <a:alpha val="0"/>
                </a:schemeClr>
              </a:gs>
              <a:gs pos="99000">
                <a:srgbClr val="000000">
                  <a:alpha val="41000"/>
                </a:srgb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03B61951-ECF3-90FD-8204-D82571FD56D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5274173">
            <a:off x="4544796" y="584453"/>
            <a:ext cx="3725650" cy="3741293"/>
          </a:xfrm>
          <a:prstGeom prst="ellipse">
            <a:avLst/>
          </a:prstGeom>
          <a:gradFill>
            <a:gsLst>
              <a:gs pos="0">
                <a:schemeClr val="accent1">
                  <a:alpha val="24000"/>
                </a:schemeClr>
              </a:gs>
              <a:gs pos="79000">
                <a:schemeClr val="accent1">
                  <a:lumMod val="60000"/>
                  <a:lumOff val="40000"/>
                  <a:alpha val="0"/>
                </a:schemeClr>
              </a:gs>
            </a:gsLst>
            <a:lin ang="14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414EB54-43AC-0AA4-CBAC-857FB6A0D4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40148" y="614238"/>
            <a:ext cx="4947184" cy="2451390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r"/>
            <a:r>
              <a:rPr lang="en-US" sz="3600" dirty="0">
                <a:solidFill>
                  <a:srgbClr val="FFFFFF"/>
                </a:solidFill>
              </a:rPr>
              <a:t>Dataset &amp; External Sources </a:t>
            </a:r>
            <a:endParaRPr lang="en-US" sz="3600" kern="1200" dirty="0">
              <a:solidFill>
                <a:srgbClr val="FFFFFF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327224B-2318-0CC5-E5CA-4EBCF36695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4735" y="3360028"/>
            <a:ext cx="9134528" cy="1783472"/>
          </a:xfrm>
          <a:prstGeom prst="rect">
            <a:avLst/>
          </a:prstGeom>
          <a:gradFill>
            <a:gsLst>
              <a:gs pos="0">
                <a:schemeClr val="accent1">
                  <a:lumMod val="75000"/>
                  <a:alpha val="50000"/>
                </a:schemeClr>
              </a:gs>
              <a:gs pos="99000">
                <a:srgbClr val="000000">
                  <a:alpha val="34000"/>
                </a:srgbClr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26E38A21-1D3C-AEDD-7F43-3C654159DB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 flipH="1">
            <a:off x="5225314" y="1224495"/>
            <a:ext cx="5143179" cy="2694194"/>
          </a:xfrm>
          <a:prstGeom prst="rect">
            <a:avLst/>
          </a:prstGeom>
          <a:gradFill>
            <a:gsLst>
              <a:gs pos="0">
                <a:schemeClr val="accent1">
                  <a:lumMod val="75000"/>
                  <a:alpha val="50000"/>
                </a:schemeClr>
              </a:gs>
              <a:gs pos="99000">
                <a:srgbClr val="000000">
                  <a:alpha val="0"/>
                </a:srgbClr>
              </a:gs>
            </a:gsLst>
            <a:lin ang="15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397986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7113AB-884C-840A-2542-C4602454627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A4629A5A-FCEA-F23F-D5BF-BEEBCF2F8938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342900" y="411480"/>
            <a:ext cx="8455914" cy="371475"/>
          </a:xfrm>
        </p:spPr>
        <p:txBody>
          <a:bodyPr vert="horz" lIns="0" tIns="34290" rIns="0" bIns="3429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/>
              <a:t>Pilot and Tracking Data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E0E4F112-4AD8-316A-F6AE-633E5C19D0E3}"/>
              </a:ext>
            </a:extLst>
          </p:cNvPr>
          <p:cNvSpPr>
            <a:spLocks noGrp="1"/>
          </p:cNvSpPr>
          <p:nvPr>
            <p:ph sz="half" idx="1"/>
            <p:custDataLst>
              <p:tags r:id="rId3"/>
            </p:custDataLst>
          </p:nvPr>
        </p:nvSpPr>
        <p:spPr>
          <a:xfrm>
            <a:off x="384062" y="3094174"/>
            <a:ext cx="2536938" cy="1022054"/>
          </a:xfrm>
          <a:noFill/>
          <a:ln>
            <a:noFill/>
          </a:ln>
        </p:spPr>
        <p:txBody>
          <a:bodyPr spcFirstLastPara="1" wrap="square" lIns="0" tIns="68580" rIns="68580" bIns="34290" anchor="t" anchorCtr="0"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>
              <a:lnSpc>
                <a:spcPct val="110000"/>
              </a:lnSpc>
              <a:spcBef>
                <a:spcPts val="0"/>
              </a:spcBef>
              <a:buNone/>
            </a:pPr>
            <a:r>
              <a:rPr lang="en-US" sz="1200" b="1" dirty="0"/>
              <a:t>FAE Technology</a:t>
            </a:r>
            <a:r>
              <a:rPr lang="en-US" sz="1200" dirty="0"/>
              <a:t>, core dataset provider:  </a:t>
            </a:r>
            <a:r>
              <a:rPr lang="en-US" sz="1200" i="1" dirty="0"/>
              <a:t>one-hundred </a:t>
            </a:r>
            <a:r>
              <a:rPr lang="en-US" sz="1200" dirty="0"/>
              <a:t>order</a:t>
            </a:r>
            <a:r>
              <a:rPr lang="en-US" sz="1200" i="1" dirty="0"/>
              <a:t> records </a:t>
            </a:r>
            <a:r>
              <a:rPr lang="en-US" sz="1200" dirty="0"/>
              <a:t>with supplier locations, timestamps and tracking links.</a:t>
            </a:r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92DF9DA3-3B8B-89A6-8461-9CFADD2C8C6A}"/>
              </a:ext>
            </a:extLst>
          </p:cNvPr>
          <p:cNvSpPr>
            <a:spLocks noGrp="1"/>
          </p:cNvSpPr>
          <p:nvPr>
            <p:ph sz="half" idx="2"/>
            <p:custDataLst>
              <p:tags r:id="rId4"/>
            </p:custDataLst>
          </p:nvPr>
        </p:nvSpPr>
        <p:spPr>
          <a:xfrm>
            <a:off x="3380411" y="3097024"/>
            <a:ext cx="2427639" cy="1022054"/>
          </a:xfrm>
          <a:noFill/>
          <a:ln>
            <a:noFill/>
          </a:ln>
        </p:spPr>
        <p:txBody>
          <a:bodyPr spcFirstLastPara="1" vert="horz" wrap="square" lIns="0" tIns="68580" rIns="68580" bIns="34290" rtlCol="0" anchor="t" anchorCtr="0"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>
              <a:lnSpc>
                <a:spcPct val="110000"/>
              </a:lnSpc>
              <a:spcBef>
                <a:spcPts val="0"/>
              </a:spcBef>
              <a:buNone/>
            </a:pPr>
            <a:r>
              <a:rPr lang="en-US" sz="1200" b="1" dirty="0"/>
              <a:t>17Track API</a:t>
            </a:r>
            <a:r>
              <a:rPr lang="en-US" sz="1200" dirty="0"/>
              <a:t> to retrieve </a:t>
            </a:r>
            <a:r>
              <a:rPr lang="en-US" sz="1200" i="1" dirty="0"/>
              <a:t>shipment events</a:t>
            </a:r>
            <a:r>
              <a:rPr lang="en-US" sz="1200" dirty="0"/>
              <a:t> across multiple carriers, including </a:t>
            </a:r>
            <a:r>
              <a:rPr lang="en-US" sz="1200" i="1" dirty="0"/>
              <a:t>location</a:t>
            </a:r>
            <a:r>
              <a:rPr lang="en-US" sz="1200" dirty="0"/>
              <a:t>, </a:t>
            </a:r>
            <a:r>
              <a:rPr lang="en-US" sz="1200" i="1" dirty="0"/>
              <a:t>timestamp</a:t>
            </a:r>
            <a:r>
              <a:rPr lang="en-US" sz="1200" dirty="0"/>
              <a:t>, and </a:t>
            </a:r>
            <a:r>
              <a:rPr lang="en-US" sz="1200" i="1" dirty="0"/>
              <a:t>status</a:t>
            </a:r>
            <a:r>
              <a:rPr lang="en-US" sz="1200" dirty="0"/>
              <a:t>.</a:t>
            </a:r>
            <a:endParaRPr lang="en-US" sz="1200" dirty="0">
              <a:solidFill>
                <a:schemeClr val="tx2"/>
              </a:solidFill>
              <a:cs typeface="+mn-cs"/>
            </a:endParaRP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862B3103-45FD-08E3-4121-98B691200FFA}"/>
              </a:ext>
            </a:extLst>
          </p:cNvPr>
          <p:cNvSpPr>
            <a:spLocks noGrp="1"/>
          </p:cNvSpPr>
          <p:nvPr>
            <p:ph sz="half" idx="16"/>
            <p:custDataLst>
              <p:tags r:id="rId5"/>
            </p:custDataLst>
          </p:nvPr>
        </p:nvSpPr>
        <p:spPr>
          <a:xfrm>
            <a:off x="6493823" y="3083801"/>
            <a:ext cx="2266115" cy="1022054"/>
          </a:xfrm>
          <a:noFill/>
          <a:ln>
            <a:noFill/>
          </a:ln>
        </p:spPr>
        <p:txBody>
          <a:bodyPr spcFirstLastPara="1" vert="horz" wrap="square" lIns="0" tIns="68580" rIns="68580" bIns="34290" rtlCol="0" anchor="t" anchorCtr="0"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>
              <a:lnSpc>
                <a:spcPct val="110000"/>
              </a:lnSpc>
              <a:spcBef>
                <a:spcPts val="0"/>
              </a:spcBef>
              <a:buNone/>
            </a:pPr>
            <a:r>
              <a:rPr lang="en-US" sz="1200" b="1" dirty="0" err="1"/>
              <a:t>Geonames</a:t>
            </a:r>
            <a:r>
              <a:rPr lang="en-US" sz="1200" b="1" dirty="0"/>
              <a:t> API </a:t>
            </a:r>
            <a:r>
              <a:rPr lang="en-US" sz="1200" dirty="0"/>
              <a:t>to</a:t>
            </a:r>
            <a:r>
              <a:rPr lang="en-US" sz="1200" b="1" dirty="0"/>
              <a:t> </a:t>
            </a:r>
            <a:r>
              <a:rPr lang="en-US" sz="1200" dirty="0"/>
              <a:t>standardize shipment events and supplier locations at a </a:t>
            </a:r>
            <a:r>
              <a:rPr lang="en-US" sz="1200" i="1" dirty="0"/>
              <a:t>city level.</a:t>
            </a:r>
            <a:endParaRPr lang="en-US" sz="1200" dirty="0">
              <a:solidFill>
                <a:schemeClr val="tx2"/>
              </a:solidFill>
              <a:cs typeface="+mn-cs"/>
            </a:endParaRPr>
          </a:p>
        </p:txBody>
      </p:sp>
      <p:pic>
        <p:nvPicPr>
          <p:cNvPr id="4" name="Picture Placeholder 12">
            <a:extLst>
              <a:ext uri="{FF2B5EF4-FFF2-40B4-BE49-F238E27FC236}">
                <a16:creationId xmlns:a16="http://schemas.microsoft.com/office/drawing/2014/main" id="{2C5D90BC-B8B9-D081-A6C9-784537D7EFC5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 rotWithShape="1">
          <a:blip r:embed="rId15"/>
          <a:srcRect l="9767" r="9767"/>
          <a:stretch/>
        </p:blipFill>
        <p:spPr>
          <a:xfrm>
            <a:off x="720011" y="1406110"/>
            <a:ext cx="1669669" cy="1557131"/>
          </a:xfrm>
          <a:prstGeom prst="rect">
            <a:avLst/>
          </a:prstGeom>
        </p:spPr>
      </p:pic>
      <p:pic>
        <p:nvPicPr>
          <p:cNvPr id="5" name="Picture Placeholder 12">
            <a:extLst>
              <a:ext uri="{FF2B5EF4-FFF2-40B4-BE49-F238E27FC236}">
                <a16:creationId xmlns:a16="http://schemas.microsoft.com/office/drawing/2014/main" id="{839E48B7-DC7D-4F29-B99A-DBDB7F2F7B66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 rotWithShape="1">
          <a:blip r:embed="rId16"/>
          <a:srcRect t="3370" b="3370"/>
          <a:stretch/>
        </p:blipFill>
        <p:spPr>
          <a:xfrm>
            <a:off x="3477861" y="1281233"/>
            <a:ext cx="1882226" cy="1755361"/>
          </a:xfrm>
          <a:prstGeom prst="rect">
            <a:avLst/>
          </a:prstGeom>
        </p:spPr>
      </p:pic>
      <p:pic>
        <p:nvPicPr>
          <p:cNvPr id="6" name="Picture Placeholder 12">
            <a:extLst>
              <a:ext uri="{FF2B5EF4-FFF2-40B4-BE49-F238E27FC236}">
                <a16:creationId xmlns:a16="http://schemas.microsoft.com/office/drawing/2014/main" id="{4DF847E9-FEEE-CB38-76E5-0AD31970727D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 rotWithShape="1">
          <a:blip r:embed="rId17"/>
          <a:srcRect t="3370" b="3370"/>
          <a:stretch/>
        </p:blipFill>
        <p:spPr>
          <a:xfrm>
            <a:off x="6493823" y="1306994"/>
            <a:ext cx="1882226" cy="1755361"/>
          </a:xfrm>
          <a:prstGeom prst="rect">
            <a:avLst/>
          </a:prstGeom>
        </p:spPr>
      </p:pic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4961A0E9-36B0-5AEC-0AEC-05CDA9FCB2D0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>
          <a:xfrm>
            <a:off x="342900" y="255537"/>
            <a:ext cx="8455819" cy="155515"/>
          </a:xfrm>
          <a:prstGeom prst="rect">
            <a:avLst/>
          </a:prstGeom>
        </p:spPr>
        <p:txBody>
          <a:bodyPr vert="horz" lIns="0" tIns="0" rIns="68580" bIns="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000" cap="all" noProof="1">
                <a:solidFill>
                  <a:schemeClr val="accent1"/>
                </a:solidFill>
                <a:latin typeface="Aptos" panose="020B0004020202020204" pitchFamily="34" charset="0"/>
              </a:rPr>
              <a:t>Dataset &amp; EXTERNAL SOURCES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CFE0237E-07B0-095F-CCC5-416010814B23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>
          <a:xfrm>
            <a:off x="322659" y="4338690"/>
            <a:ext cx="8509000" cy="463153"/>
          </a:xfrm>
          <a:prstGeom prst="rect">
            <a:avLst/>
          </a:prstGeom>
          <a:solidFill>
            <a:schemeClr val="bg2"/>
          </a:solidFill>
        </p:spPr>
        <p:txBody>
          <a:bodyPr vert="horz" lIns="68580" tIns="68580" rIns="68580" bIns="68580" rtlCol="0" anchor="ctr"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7144">
              <a:lnSpc>
                <a:spcPct val="110000"/>
              </a:lnSpc>
            </a:pPr>
            <a:r>
              <a:rPr lang="en-US" sz="1400" dirty="0">
                <a:solidFill>
                  <a:srgbClr val="125E4B"/>
                </a:solidFill>
              </a:rPr>
              <a:t>Three sources forming the </a:t>
            </a:r>
            <a:r>
              <a:rPr lang="en-US" sz="1400" b="1" dirty="0">
                <a:solidFill>
                  <a:srgbClr val="125E4B"/>
                </a:solidFill>
              </a:rPr>
              <a:t>core</a:t>
            </a:r>
            <a:r>
              <a:rPr lang="en-US" sz="1400" dirty="0">
                <a:solidFill>
                  <a:srgbClr val="125E4B"/>
                </a:solidFill>
              </a:rPr>
              <a:t> </a:t>
            </a:r>
            <a:r>
              <a:rPr lang="en-US" sz="1400" b="1" dirty="0">
                <a:solidFill>
                  <a:srgbClr val="125E4B"/>
                </a:solidFill>
              </a:rPr>
              <a:t>dataset</a:t>
            </a:r>
            <a:r>
              <a:rPr lang="en-US" sz="1400" dirty="0">
                <a:solidFill>
                  <a:srgbClr val="125E4B"/>
                </a:solidFill>
              </a:rPr>
              <a:t>, providing the foundational data that captures the </a:t>
            </a:r>
            <a:r>
              <a:rPr lang="en-US" sz="1400" b="1" dirty="0">
                <a:solidFill>
                  <a:srgbClr val="125E4B"/>
                </a:solidFill>
              </a:rPr>
              <a:t>supply</a:t>
            </a:r>
            <a:r>
              <a:rPr lang="en-US" sz="1400" dirty="0">
                <a:solidFill>
                  <a:srgbClr val="125E4B"/>
                </a:solidFill>
              </a:rPr>
              <a:t> </a:t>
            </a:r>
            <a:r>
              <a:rPr lang="en-US" sz="1400" b="1" dirty="0">
                <a:solidFill>
                  <a:srgbClr val="125E4B"/>
                </a:solidFill>
              </a:rPr>
              <a:t>chain</a:t>
            </a:r>
            <a:r>
              <a:rPr lang="en-US" sz="1400" dirty="0">
                <a:solidFill>
                  <a:srgbClr val="125E4B"/>
                </a:solidFill>
              </a:rPr>
              <a:t> </a:t>
            </a:r>
            <a:r>
              <a:rPr lang="en-US" sz="1400" b="1" dirty="0">
                <a:solidFill>
                  <a:srgbClr val="125E4B"/>
                </a:solidFill>
              </a:rPr>
              <a:t>structure</a:t>
            </a:r>
            <a:r>
              <a:rPr lang="en-US" sz="1400" dirty="0">
                <a:solidFill>
                  <a:srgbClr val="125E4B"/>
                </a:solidFill>
              </a:rPr>
              <a:t>.</a:t>
            </a:r>
            <a:endParaRPr lang="en-US" sz="1400" noProof="1">
              <a:solidFill>
                <a:srgbClr val="125E4B"/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B3FD45E-6EE2-1AB0-877B-651F7183B5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06D5D6E-F3DF-0646-2903-E3D952567B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AD4B2D-25FF-0B46-98A4-87FBB723E472}" type="slidenum">
              <a:rPr lang="en-US" smtClean="0"/>
              <a:t>9</a:t>
            </a:fld>
            <a:endParaRPr lang="en-US"/>
          </a:p>
        </p:txBody>
      </p:sp>
      <p:sp>
        <p:nvSpPr>
          <p:cNvPr id="8" name="Google Shape;10527;p9415">
            <a:extLst>
              <a:ext uri="{FF2B5EF4-FFF2-40B4-BE49-F238E27FC236}">
                <a16:creationId xmlns:a16="http://schemas.microsoft.com/office/drawing/2014/main" id="{F9041267-76FA-D1C8-B31B-F4B280802F63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725755" y="1166842"/>
            <a:ext cx="1618369" cy="28803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68580" tIns="34290" rIns="68580" bIns="34290" anchor="ctr" anchorCtr="0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ts val="1100"/>
            </a:pPr>
            <a:r>
              <a:rPr lang="en-US" sz="1400" noProof="1">
                <a:solidFill>
                  <a:schemeClr val="bg1"/>
                </a:solidFill>
                <a:latin typeface="+mj-lt"/>
              </a:rPr>
              <a:t>Pilot Order Data</a:t>
            </a:r>
          </a:p>
        </p:txBody>
      </p:sp>
      <p:sp>
        <p:nvSpPr>
          <p:cNvPr id="21" name="Google Shape;10527;p9415">
            <a:extLst>
              <a:ext uri="{FF2B5EF4-FFF2-40B4-BE49-F238E27FC236}">
                <a16:creationId xmlns:a16="http://schemas.microsoft.com/office/drawing/2014/main" id="{3ADAF5CD-4415-63F4-1474-0EFA21455F7E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3523415" y="1166842"/>
            <a:ext cx="1836671" cy="28803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68580" tIns="34290" rIns="68580" bIns="34290" anchor="ctr" anchorCtr="0"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ts val="1100"/>
            </a:pPr>
            <a:r>
              <a:rPr lang="en-US" sz="1400" noProof="1">
                <a:solidFill>
                  <a:schemeClr val="bg1"/>
                </a:solidFill>
                <a:latin typeface="+mj-lt"/>
              </a:rPr>
              <a:t>Carrier Tracking Data</a:t>
            </a:r>
          </a:p>
        </p:txBody>
      </p:sp>
      <p:sp>
        <p:nvSpPr>
          <p:cNvPr id="26" name="Google Shape;10527;p9415">
            <a:extLst>
              <a:ext uri="{FF2B5EF4-FFF2-40B4-BE49-F238E27FC236}">
                <a16:creationId xmlns:a16="http://schemas.microsoft.com/office/drawing/2014/main" id="{E4706407-616B-B77B-68E5-08B70914F093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6539377" y="1166842"/>
            <a:ext cx="1836670" cy="28803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68580" tIns="34290" rIns="68580" bIns="34290" anchor="ctr" anchorCtr="0"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ts val="1100"/>
            </a:pPr>
            <a:r>
              <a:rPr lang="en-US" sz="1400" noProof="1">
                <a:solidFill>
                  <a:schemeClr val="bg1"/>
                </a:solidFill>
                <a:latin typeface="+mj-lt"/>
              </a:rPr>
              <a:t>Geographical Data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8565216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TEMPLATE" val="D9fCV9f59UZFiLIMLoUj3k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itl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2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_1"/>
</p:tagLst>
</file>

<file path=ppt/tags/tag10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_1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chapter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akeaway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2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2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SLIDE_ID" val="v1N2wBpLqoO2Q3HXuee3OX"/>
  <p:tag name="PLUS_SLIDE_PPT_ID" val="456#3540731139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itl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1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_1"/>
</p:tagLst>
</file>

<file path=ppt/tags/tag1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_1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chapter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akeaway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2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2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SLIDE_ID" val="v1N2wBpLqoO2Q3HXuee3OX"/>
  <p:tag name="PLUS_SLIDE_PPT_ID" val="456#3540731139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itl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2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_1"/>
</p:tagLst>
</file>

<file path=ppt/tags/tag1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_1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chapter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akeaway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2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2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SLIDE_ID" val="IZrPJ0KdVO8qEhMFzAZbyA"/>
  <p:tag name="PLUS_SLIDE_PPT_ID" val="400#657172752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itl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chapter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_0"/>
</p:tagLst>
</file>

<file path=ppt/tags/tag1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_0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0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_1"/>
</p:tagLst>
</file>

<file path=ppt/tags/tag1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_1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0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0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akeaway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SLIDE_ID" val="IZrPJ0KdVO8qEhMFzAZZE0"/>
  <p:tag name="PLUS_SLIDE_PPT_ID" val="398#2994835159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itl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"/>
</p:tagLst>
</file>

<file path=ppt/tags/tag1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chapter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akeaway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"/>
</p:tagLst>
</file>

<file path=ppt/tags/tag1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0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0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SLIDE_ID" val="IZrPJ0KdVO8qEhMFzAZdHq"/>
  <p:tag name="PLUS_SLIDE_PPT_ID" val="401#504063912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itl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chapter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SLIDE_ID" val="uij4NWDig4GGj2YXDfteTl"/>
  <p:tag name="PLUS_SLIDE_PPT_ID" val="364#1471960712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_0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_1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0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0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SLIDE_ID" val="IZrPJ0KdVO8qEhMFzAZZE0"/>
  <p:tag name="PLUS_SLIDE_PPT_ID" val="398#2994835159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itl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chapter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akeaway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0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SLIDE_ID" val="IZrPJ0KdVO8qEhMFzAZZE0"/>
  <p:tag name="PLUS_SLIDE_PPT_ID" val="398#2994835159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itl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chapter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akeaway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0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SLIDE_ID" val="IZrPJ0KdVO8qEhMFzAZZE0"/>
  <p:tag name="PLUS_SLIDE_PPT_ID" val="398#2994835159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itl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a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"/>
</p:tagLst>
</file>

<file path=ppt/tags/tag17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chapter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akeaway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0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SLIDE_ID" val="IZrPJ0KdVO8qEhMFzAZZE0"/>
  <p:tag name="PLUS_SLIDE_PPT_ID" val="398#2994835159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itl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chapter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akeaway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presentation_titl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0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SLIDE_ID" val="IZrPJ0KdVO8qEhMFzAZZE0"/>
  <p:tag name="PLUS_SLIDE_PPT_ID" val="398#2994835159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itl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chapter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akeaway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0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SLIDE_ID" val="IZrPJ0KdVO8qEhMFzAZZE0"/>
  <p:tag name="PLUS_SLIDE_PPT_ID" val="398#2994835159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a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itl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"/>
</p:tagLst>
</file>

<file path=ppt/tags/tag19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chapter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akeaway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0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SLIDE_ID" val="IZrPJ0KdVO8qEhMFzAZZE0"/>
  <p:tag name="PLUS_SLIDE_PPT_ID" val="398#2994835159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itl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chapter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akeaway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0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SLIDE_ID" val="IZrPJ0KdVO8qEhMFzAZdHq"/>
  <p:tag name="PLUS_SLIDE_PPT_ID" val="401#504063912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itl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chapter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0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0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0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SLIDE_ID" val="IZrPJ0KdVO8qEhMFzAZdHq"/>
  <p:tag name="PLUS_SLIDE_PPT_ID" val="401#50406391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agenda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itl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chapter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0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0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SLIDE_ID" val="IZrPJ0KdVO8qEhMFzAZdHq"/>
  <p:tag name="PLUS_SLIDE_PPT_ID" val="401#504063912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itl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chapter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_0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itl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0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SLIDE_ID" val="IZrPJ0KdVO8qEhMFzAZdHq"/>
  <p:tag name="PLUS_SLIDE_PPT_ID" val="401#504063912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itle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chapter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_0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0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SLIDE_ID" val="IZrPJ0KdVO8qEhMFzAb0kf"/>
  <p:tag name="PLUS_SLIDE_PPT_ID" val="425#2370392418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itl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SLIDE_ID" val="IZrPJ0KdVO8qEhMFzAZdHq"/>
  <p:tag name="PLUS_SLIDE_PPT_ID" val="401#504063912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chapter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0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_1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0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_1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SLIDE_ID" val="XUjG0aHTvi5ieti22ojGTV"/>
  <p:tag name="PLUS_SLIDE_PPT_ID" val="463#385433895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itl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chapter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akeaway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0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akeaway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0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0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SLIDE_ID" val="XUjG0aHTvi5ieti22ojGTV"/>
  <p:tag name="PLUS_SLIDE_PPT_ID" val="463#385433895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itle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chapter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akeaway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0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0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SLIDE_ID" val="IZrPJ0KdVO8qEhMFzAb0kf"/>
  <p:tag name="PLUS_SLIDE_PPT_ID" val="425#2370392418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itle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chapter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SLIDE_ID" val="IZrPJ0KdVO8qEhMFzAb0kf"/>
  <p:tag name="PLUS_SLIDE_PPT_ID" val="425#2370392418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itle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itle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chapter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0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_1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SLIDE_ID" val="IZrPJ0KdVO8qEhMFzAb0kf"/>
  <p:tag name="PLUS_SLIDE_PPT_ID" val="425#2370392418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itle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chapter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SLIDE_ID" val="IZrPJ0KdVO8qEhMFzAb0kf"/>
  <p:tag name="PLUS_SLIDE_PPT_ID" val="425#2370392418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chapter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itle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chapter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SLIDE_ID" val="IZrPJ0KdVO8qEhMFzAb0kf"/>
  <p:tag name="PLUS_SLIDE_PPT_ID" val="425#2370392418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itle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chapter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SLIDE_ID" val="IZrPJ0KdVO8qEhMFzAb0kf"/>
  <p:tag name="PLUS_SLIDE_PPT_ID" val="425#2370392418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itl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_0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chapter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SLIDE_ID" val="IZrPJ0KdVO8qEhMFzAb0kf"/>
  <p:tag name="PLUS_SLIDE_PPT_ID" val="425#2370392418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itle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chapter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SLIDE_ID" val="XUjG0aHTvi5ieti22ojGTV"/>
  <p:tag name="PLUS_SLIDE_PPT_ID" val="463#385433895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itle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chapter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0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0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0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akeaway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0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SLIDE_ID" val="XUjG0aHTvi5ieti22ojGTV"/>
  <p:tag name="PLUS_SLIDE_PPT_ID" val="463#385433895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itle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chapter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0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0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akeaway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SLIDE_ID" val="uij4NWDig4GGj2YXDg1Y8L"/>
  <p:tag name="PLUS_SLIDE_PPT_ID" val="426#613754709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image_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image_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image_2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itl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_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_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_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chapter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0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0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SLIDE_ID" val="IZrPJ0KdVO8qEhMFzAZdHq"/>
  <p:tag name="PLUS_SLIDE_PPT_ID" val="401#504063912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akeaway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itl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chapter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_0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_0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0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SLIDE_ID" val="uij4NWDig4GGj2YXDg0t38"/>
  <p:tag name="PLUS_SLIDE_PPT_ID" val="407#581465989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itl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_0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0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_1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1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chapter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akeaway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_2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2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SLIDE_ID" val="yA1m02rtmrOQ94IrtZZifU"/>
  <p:tag name="PLUS_SLIDE_PPT_ID" val="448#2900448628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itl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_0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_1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_2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image_0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image_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image_2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chapter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akeaway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0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0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0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SLIDE_ID" val="yA1m02rtmrOQ94IrtZZifU"/>
  <p:tag name="PLUS_SLIDE_PPT_ID" val="448#2900448628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itl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_0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_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_2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image_0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image_1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image_2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chapter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akeaway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0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0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0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SLIDE_ID" val="IZrPJ0KdVO8qEhMFzAatj3"/>
  <p:tag name="PLUS_SLIDE_PPT_ID" val="423#208484222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akeaway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akeaway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itl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_0"/>
</p:tagLst>
</file>

<file path=ppt/tags/tag9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_0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0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_1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chapter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0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SLIDE_ID" val="v1N2wBpLqoO2Q3HXuee3OX"/>
  <p:tag name="PLUS_SLIDE_PPT_ID" val="456#3540731139"/>
</p:tagLst>
</file>

<file path=ppt/theme/theme1.xml><?xml version="1.0" encoding="utf-8"?>
<a:theme xmlns:a="http://schemas.openxmlformats.org/drawingml/2006/main" name="office theme">
  <a:themeElements>
    <a:clrScheme name="Insight Modern">
      <a:dk1>
        <a:srgbClr val="000000"/>
      </a:dk1>
      <a:lt1>
        <a:srgbClr val="FFFFFF"/>
      </a:lt1>
      <a:dk2>
        <a:srgbClr val="838E8D"/>
      </a:dk2>
      <a:lt2>
        <a:srgbClr val="E5EBE9"/>
      </a:lt2>
      <a:accent1>
        <a:srgbClr val="4CB571"/>
      </a:accent1>
      <a:accent2>
        <a:srgbClr val="5FDF8E"/>
      </a:accent2>
      <a:accent3>
        <a:srgbClr val="125E4B"/>
      </a:accent3>
      <a:accent4>
        <a:srgbClr val="2BAE8D"/>
      </a:accent4>
      <a:accent5>
        <a:srgbClr val="91FCDA"/>
      </a:accent5>
      <a:accent6>
        <a:srgbClr val="B699D2"/>
      </a:accent6>
      <a:hlink>
        <a:srgbClr val="4CB571"/>
      </a:hlink>
      <a:folHlink>
        <a:srgbClr val="125E4B"/>
      </a:folHlink>
    </a:clrScheme>
    <a:fontScheme name="Aptos Light">
      <a:majorFont>
        <a:latin typeface="Aptos SemiBold"/>
        <a:ea typeface=""/>
        <a:cs typeface=""/>
      </a:majorFont>
      <a:minorFont>
        <a:latin typeface="Aptos Light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Insight Modern">
      <a:dk1>
        <a:srgbClr val="000000"/>
      </a:dk1>
      <a:lt1>
        <a:srgbClr val="FFFFFF"/>
      </a:lt1>
      <a:dk2>
        <a:srgbClr val="838E8D"/>
      </a:dk2>
      <a:lt2>
        <a:srgbClr val="E5EBE9"/>
      </a:lt2>
      <a:accent1>
        <a:srgbClr val="4CB571"/>
      </a:accent1>
      <a:accent2>
        <a:srgbClr val="5FDF8E"/>
      </a:accent2>
      <a:accent3>
        <a:srgbClr val="125E4B"/>
      </a:accent3>
      <a:accent4>
        <a:srgbClr val="2BAE8D"/>
      </a:accent4>
      <a:accent5>
        <a:srgbClr val="91FCDA"/>
      </a:accent5>
      <a:accent6>
        <a:srgbClr val="B699D2"/>
      </a:accent6>
      <a:hlink>
        <a:srgbClr val="4CB571"/>
      </a:hlink>
      <a:folHlink>
        <a:srgbClr val="125E4B"/>
      </a:folHlink>
    </a:clrScheme>
    <a:fontScheme name="Aptos Light">
      <a:majorFont>
        <a:latin typeface="Aptos SemiBold"/>
        <a:ea typeface=""/>
        <a:cs typeface=""/>
      </a:majorFont>
      <a:minorFont>
        <a:latin typeface="Aptos Light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3.xml><?xml version="1.0" encoding="utf-8"?>
<a:theme xmlns:a="http://schemas.openxmlformats.org/drawingml/2006/main" name="office theme">
  <a:themeElements>
    <a:clrScheme name="Insight Modern">
      <a:dk1>
        <a:srgbClr val="000000"/>
      </a:dk1>
      <a:lt1>
        <a:srgbClr val="FFFFFF"/>
      </a:lt1>
      <a:dk2>
        <a:srgbClr val="838E8D"/>
      </a:dk2>
      <a:lt2>
        <a:srgbClr val="E5EBE9"/>
      </a:lt2>
      <a:accent1>
        <a:srgbClr val="4CB571"/>
      </a:accent1>
      <a:accent2>
        <a:srgbClr val="5FDF8E"/>
      </a:accent2>
      <a:accent3>
        <a:srgbClr val="125E4B"/>
      </a:accent3>
      <a:accent4>
        <a:srgbClr val="2BAE8D"/>
      </a:accent4>
      <a:accent5>
        <a:srgbClr val="91FCDA"/>
      </a:accent5>
      <a:accent6>
        <a:srgbClr val="B699D2"/>
      </a:accent6>
      <a:hlink>
        <a:srgbClr val="4CB571"/>
      </a:hlink>
      <a:folHlink>
        <a:srgbClr val="125E4B"/>
      </a:folHlink>
    </a:clrScheme>
    <a:fontScheme name="Aptos Light">
      <a:majorFont>
        <a:latin typeface="Aptos SemiBold"/>
        <a:ea typeface=""/>
        <a:cs typeface=""/>
      </a:majorFont>
      <a:minorFont>
        <a:latin typeface="Aptos Light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4.xml><?xml version="1.0" encoding="utf-8"?>
<a:theme xmlns:a="http://schemas.openxmlformats.org/drawingml/2006/main" name="office theme">
  <a:themeElements>
    <a:clrScheme name="Insight Modern">
      <a:dk1>
        <a:srgbClr val="000000"/>
      </a:dk1>
      <a:lt1>
        <a:srgbClr val="FFFFFF"/>
      </a:lt1>
      <a:dk2>
        <a:srgbClr val="838E8D"/>
      </a:dk2>
      <a:lt2>
        <a:srgbClr val="E5EBE9"/>
      </a:lt2>
      <a:accent1>
        <a:srgbClr val="4CB571"/>
      </a:accent1>
      <a:accent2>
        <a:srgbClr val="5FDF8E"/>
      </a:accent2>
      <a:accent3>
        <a:srgbClr val="125E4B"/>
      </a:accent3>
      <a:accent4>
        <a:srgbClr val="2BAE8D"/>
      </a:accent4>
      <a:accent5>
        <a:srgbClr val="91FCDA"/>
      </a:accent5>
      <a:accent6>
        <a:srgbClr val="B699D2"/>
      </a:accent6>
      <a:hlink>
        <a:srgbClr val="4CB571"/>
      </a:hlink>
      <a:folHlink>
        <a:srgbClr val="125E4B"/>
      </a:folHlink>
    </a:clrScheme>
    <a:fontScheme name="Aptos Light">
      <a:majorFont>
        <a:latin typeface="Aptos SemiBold"/>
        <a:ea typeface=""/>
        <a:cs typeface=""/>
      </a:majorFont>
      <a:minorFont>
        <a:latin typeface="Aptos Light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5.xml><?xml version="1.0" encoding="utf-8"?>
<a:theme xmlns:a="http://schemas.openxmlformats.org/drawingml/2006/main" name="office theme">
  <a:themeElements>
    <a:clrScheme name="Insight Modern">
      <a:dk1>
        <a:srgbClr val="000000"/>
      </a:dk1>
      <a:lt1>
        <a:srgbClr val="FFFFFF"/>
      </a:lt1>
      <a:dk2>
        <a:srgbClr val="838E8D"/>
      </a:dk2>
      <a:lt2>
        <a:srgbClr val="E5EBE9"/>
      </a:lt2>
      <a:accent1>
        <a:srgbClr val="4CB571"/>
      </a:accent1>
      <a:accent2>
        <a:srgbClr val="5FDF8E"/>
      </a:accent2>
      <a:accent3>
        <a:srgbClr val="125E4B"/>
      </a:accent3>
      <a:accent4>
        <a:srgbClr val="2BAE8D"/>
      </a:accent4>
      <a:accent5>
        <a:srgbClr val="91FCDA"/>
      </a:accent5>
      <a:accent6>
        <a:srgbClr val="B699D2"/>
      </a:accent6>
      <a:hlink>
        <a:srgbClr val="4CB571"/>
      </a:hlink>
      <a:folHlink>
        <a:srgbClr val="125E4B"/>
      </a:folHlink>
    </a:clrScheme>
    <a:fontScheme name="Aptos Light">
      <a:majorFont>
        <a:latin typeface="Aptos SemiBold"/>
        <a:ea typeface=""/>
        <a:cs typeface=""/>
      </a:majorFont>
      <a:minorFont>
        <a:latin typeface="Aptos Light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6.xml><?xml version="1.0" encoding="utf-8"?>
<a:theme xmlns:a="http://schemas.openxmlformats.org/drawingml/2006/main" name="office theme">
  <a:themeElements>
    <a:clrScheme name="Insight Modern">
      <a:dk1>
        <a:srgbClr val="000000"/>
      </a:dk1>
      <a:lt1>
        <a:srgbClr val="FFFFFF"/>
      </a:lt1>
      <a:dk2>
        <a:srgbClr val="838E8D"/>
      </a:dk2>
      <a:lt2>
        <a:srgbClr val="E5EBE9"/>
      </a:lt2>
      <a:accent1>
        <a:srgbClr val="4CB571"/>
      </a:accent1>
      <a:accent2>
        <a:srgbClr val="5FDF8E"/>
      </a:accent2>
      <a:accent3>
        <a:srgbClr val="125E4B"/>
      </a:accent3>
      <a:accent4>
        <a:srgbClr val="2BAE8D"/>
      </a:accent4>
      <a:accent5>
        <a:srgbClr val="91FCDA"/>
      </a:accent5>
      <a:accent6>
        <a:srgbClr val="B699D2"/>
      </a:accent6>
      <a:hlink>
        <a:srgbClr val="4CB571"/>
      </a:hlink>
      <a:folHlink>
        <a:srgbClr val="125E4B"/>
      </a:folHlink>
    </a:clrScheme>
    <a:fontScheme name="Aptos Light">
      <a:majorFont>
        <a:latin typeface="Aptos SemiBold"/>
        <a:ea typeface=""/>
        <a:cs typeface=""/>
      </a:majorFont>
      <a:minorFont>
        <a:latin typeface="Aptos Light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7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webextensions/_rels/taskpanes.xml.rels><?xml version="1.0" encoding="UTF-8" standalone="yes"?>
<Relationships xmlns="http://schemas.openxmlformats.org/package/2006/relationships"><Relationship Id="rId3" Type="http://schemas.microsoft.com/office/2011/relationships/webextension" Target="webextension3.xml"/><Relationship Id="rId2" Type="http://schemas.microsoft.com/office/2011/relationships/webextension" Target="webextension2.xml"/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1">
    <wetp:webextensionref xmlns:r="http://schemas.openxmlformats.org/officeDocument/2006/relationships" r:id="rId1"/>
  </wetp:taskpane>
  <wetp:taskpane dockstate="right" visibility="0" width="525" row="6">
    <wetp:webextensionref xmlns:r="http://schemas.openxmlformats.org/officeDocument/2006/relationships" r:id="rId2"/>
  </wetp:taskpane>
  <wetp:taskpane dockstate="right" visibility="0" width="525" row="7">
    <wetp:webextensionref xmlns:r="http://schemas.openxmlformats.org/officeDocument/2006/relationships" r:id="rId3"/>
  </wetp:taskpane>
</wetp:taskpanes>
</file>

<file path=ppt/webextensions/webextension1.xml><?xml version="1.0" encoding="utf-8"?>
<we:webextension xmlns:we="http://schemas.microsoft.com/office/webextensions/webextension/2010/11" id="{AE816A53-FFED-451F-815E-7B55E28E1682}">
  <we:reference id="wa200005566" version="3.0.0.3" store="it-IT" storeType="OMEX"/>
  <we:alternateReferences>
    <we:reference id="WA200005566" version="3.0.0.3" store="WA200005566" storeType="OMEX"/>
  </we:alternateReferences>
  <we:properties/>
  <we:bindings/>
  <we:snapshot xmlns:r="http://schemas.openxmlformats.org/officeDocument/2006/relationships"/>
</we:webextension>
</file>

<file path=ppt/webextensions/webextension2.xml><?xml version="1.0" encoding="utf-8"?>
<we:webextension xmlns:we="http://schemas.microsoft.com/office/webextensions/webextension/2010/11" id="{024D3EED-6F01-47BB-AE29-8192D9D3FE85}">
  <we:reference id="wa200007130" version="1.0.0.1" store="it-IT" storeType="OMEX"/>
  <we:alternateReferences>
    <we:reference id="WA200007130" version="1.0.0.1" store="WA200007130" storeType="OMEX"/>
  </we:alternateReferences>
  <we:properties/>
  <we:bindings/>
  <we:snapshot xmlns:r="http://schemas.openxmlformats.org/officeDocument/2006/relationships"/>
</we:webextension>
</file>

<file path=ppt/webextensions/webextension3.xml><?xml version="1.0" encoding="utf-8"?>
<we:webextension xmlns:we="http://schemas.microsoft.com/office/webextensions/webextension/2010/11" id="{AC0BC109-E9FA-4F4B-8CA9-A5331078B04F}">
  <we:reference id="wa200003964" version="1.0.0.0" store="it-IT" storeType="OMEX"/>
  <we:alternateReferences>
    <we:reference id="WA200003964" version="1.0.0.0" store="WA200003964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otalTime>1771</TotalTime>
  <Words>3606</Words>
  <Application>Microsoft Office PowerPoint</Application>
  <PresentationFormat>On-screen Show (16:9)</PresentationFormat>
  <Paragraphs>495</Paragraphs>
  <Slides>46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6</vt:i4>
      </vt:variant>
    </vt:vector>
  </HeadingPairs>
  <TitlesOfParts>
    <vt:vector size="58" baseType="lpstr">
      <vt:lpstr>Aptos SemiBold</vt:lpstr>
      <vt:lpstr>Aptos Light</vt:lpstr>
      <vt:lpstr>Arial</vt:lpstr>
      <vt:lpstr>Cambria Math</vt:lpstr>
      <vt:lpstr>Aptos</vt:lpstr>
      <vt:lpstr>office theme</vt:lpstr>
      <vt:lpstr>office theme</vt:lpstr>
      <vt:lpstr>office theme</vt:lpstr>
      <vt:lpstr>office theme</vt:lpstr>
      <vt:lpstr>office theme</vt:lpstr>
      <vt:lpstr>office theme</vt:lpstr>
      <vt:lpstr>think-cell Slide</vt:lpstr>
      <vt:lpstr>Delay Prediction in Supply Chains: A Hybrid Graph-Based and  Machine Learning Approach</vt:lpstr>
      <vt:lpstr>Agenda</vt:lpstr>
      <vt:lpstr>M4ESTRO Project Overview</vt:lpstr>
      <vt:lpstr>Background &amp; Context</vt:lpstr>
      <vt:lpstr>M4ESTRO – A Horizon Europe Project</vt:lpstr>
      <vt:lpstr>Research Motivation &amp; Purpose</vt:lpstr>
      <vt:lpstr>Key Contributions</vt:lpstr>
      <vt:lpstr>Dataset &amp; External Sources </vt:lpstr>
      <vt:lpstr>Pilot and Tracking Data</vt:lpstr>
      <vt:lpstr>Traffic, Weather and Holiday Data</vt:lpstr>
      <vt:lpstr>Supply Chain Modeling</vt:lpstr>
      <vt:lpstr>Supply Chain Graph Model</vt:lpstr>
      <vt:lpstr>Markov Chain Routing Model (1)</vt:lpstr>
      <vt:lpstr>Markov Chain Routing Model (2)</vt:lpstr>
      <vt:lpstr>Markov Chain Routing Model (3)</vt:lpstr>
      <vt:lpstr>Paths Extraction and Probability Distributions</vt:lpstr>
      <vt:lpstr>Historical Indicators</vt:lpstr>
      <vt:lpstr>Historical Indicators Definition</vt:lpstr>
      <vt:lpstr>Historical Indicators Implementation</vt:lpstr>
      <vt:lpstr>Realtime Indicators</vt:lpstr>
      <vt:lpstr>Realtime Indicators Overview</vt:lpstr>
      <vt:lpstr>Realtime Indicators Definition (1)</vt:lpstr>
      <vt:lpstr>Realtime Indicators Definition (2)</vt:lpstr>
      <vt:lpstr>Realtime Indicators Definition (3)</vt:lpstr>
      <vt:lpstr>Realtime Indicators Definition (4)</vt:lpstr>
      <vt:lpstr>Realtime Indicators Definition (5)</vt:lpstr>
      <vt:lpstr>Realtime Indicators Definition (6)</vt:lpstr>
      <vt:lpstr>Realtime Indicators Implementation (1)</vt:lpstr>
      <vt:lpstr>TFST Weighting Factor Implementation (1)</vt:lpstr>
      <vt:lpstr>TFST Weighting Factor Implementation (2)</vt:lpstr>
      <vt:lpstr>TFST Weighting Factor Implementation (3)</vt:lpstr>
      <vt:lpstr>Protoype &amp; Results</vt:lpstr>
      <vt:lpstr>Prototype Architecture</vt:lpstr>
      <vt:lpstr>Evaluation Methodology (1)</vt:lpstr>
      <vt:lpstr>Evaluation Methodology (2)</vt:lpstr>
      <vt:lpstr>Quantitative Evaluation</vt:lpstr>
      <vt:lpstr>Sensitivity Analysis</vt:lpstr>
      <vt:lpstr>Evolution of Shipment Estimates (1)</vt:lpstr>
      <vt:lpstr>Evolution of Shipment Estimates (2)</vt:lpstr>
      <vt:lpstr>Evolution of Shipment Estimates (3)</vt:lpstr>
      <vt:lpstr>Evolution of Shipment Estimates (4)</vt:lpstr>
      <vt:lpstr>Evolution of Shipment Estimates (5)</vt:lpstr>
      <vt:lpstr>Conclusion</vt:lpstr>
      <vt:lpstr>Key Findings</vt:lpstr>
      <vt:lpstr>Future Developments</vt:lpstr>
      <vt:lpstr>Referenc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>Fox</dc:creator>
  <cp:lastModifiedBy>Mattia Volpato</cp:lastModifiedBy>
  <cp:revision>15</cp:revision>
  <dcterms:modified xsi:type="dcterms:W3CDTF">2025-09-18T20:13:24Z</dcterms:modified>
</cp:coreProperties>
</file>